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12507" r:id="rId5"/>
    <p:sldId id="12515" r:id="rId6"/>
    <p:sldId id="12509" r:id="rId7"/>
    <p:sldId id="12510" r:id="rId8"/>
    <p:sldId id="12511" r:id="rId9"/>
  </p:sldIdLst>
  <p:sldSz cx="12192000" cy="6858000"/>
  <p:notesSz cx="6858000" cy="9144000"/>
  <p:custDataLst>
    <p:tags r:id="rId11"/>
  </p:custDataLst>
  <p:defaultTextStyle>
    <a:defPPr>
      <a:defRPr lang="ja-JP"/>
    </a:defPPr>
    <a:lvl1pPr marL="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pos="7514" userDrawn="1">
          <p15:clr>
            <a:srgbClr val="F26B43"/>
          </p15:clr>
        </p15:guide>
        <p15:guide id="6" orient="horz" pos="50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7F7F7F"/>
    <a:srgbClr val="58C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6ABC97-C7A6-4BF6-B854-2F071594CD10}" v="191" dt="2023-12-13T04:52:01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635" autoAdjust="0"/>
    <p:restoredTop sz="94660"/>
  </p:normalViewPr>
  <p:slideViewPr>
    <p:cSldViewPr snapToGrid="0">
      <p:cViewPr varScale="1">
        <p:scale>
          <a:sx n="132" d="100"/>
          <a:sy n="132" d="100"/>
        </p:scale>
        <p:origin x="270" y="126"/>
      </p:cViewPr>
      <p:guideLst>
        <p:guide orient="horz" pos="2160"/>
        <p:guide pos="3840"/>
        <p:guide pos="166"/>
        <p:guide orient="horz" pos="4201"/>
        <p:guide pos="7514"/>
        <p:guide orient="horz" pos="50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飯塚 勤 Tsutomu Iizuka" userId="350afaef-1690-4eec-b4fd-feb567f0fe7f" providerId="ADAL" clId="{D16ABC97-C7A6-4BF6-B854-2F071594CD10}"/>
    <pc:docChg chg="undo custSel delSld modSld sldOrd delMainMaster modMainMaster">
      <pc:chgData name="飯塚 勤 Tsutomu Iizuka" userId="350afaef-1690-4eec-b4fd-feb567f0fe7f" providerId="ADAL" clId="{D16ABC97-C7A6-4BF6-B854-2F071594CD10}" dt="2023-12-13T04:53:02.864" v="672" actId="20577"/>
      <pc:docMkLst>
        <pc:docMk/>
      </pc:docMkLst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1239484037" sldId="256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953259635" sldId="257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2690636663" sldId="258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1644032093" sldId="259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3178482404" sldId="260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3040283571" sldId="261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1263254778" sldId="262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3515454780" sldId="263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3308980079" sldId="264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2649454654" sldId="265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572248071" sldId="266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2823675986" sldId="267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1346999088" sldId="268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4176771352" sldId="269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2567083020" sldId="12498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149325880" sldId="12499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3117433485" sldId="12500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442255089" sldId="12501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3780447282" sldId="12502"/>
        </pc:sldMkLst>
      </pc:sldChg>
      <pc:sldChg chg="del">
        <pc:chgData name="飯塚 勤 Tsutomu Iizuka" userId="350afaef-1690-4eec-b4fd-feb567f0fe7f" providerId="ADAL" clId="{D16ABC97-C7A6-4BF6-B854-2F071594CD10}" dt="2023-12-04T05:39:53.600" v="63" actId="47"/>
        <pc:sldMkLst>
          <pc:docMk/>
          <pc:sldMk cId="156014396" sldId="12503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2445384710" sldId="12504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2365145486" sldId="12505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471309371" sldId="12506"/>
        </pc:sldMkLst>
      </pc:sldChg>
      <pc:sldChg chg="delSp modSp mod modClrScheme chgLayout">
        <pc:chgData name="飯塚 勤 Tsutomu Iizuka" userId="350afaef-1690-4eec-b4fd-feb567f0fe7f" providerId="ADAL" clId="{D16ABC97-C7A6-4BF6-B854-2F071594CD10}" dt="2023-12-13T04:39:20.210" v="313" actId="554"/>
        <pc:sldMkLst>
          <pc:docMk/>
          <pc:sldMk cId="223312562" sldId="12507"/>
        </pc:sldMkLst>
        <pc:spChg chg="del">
          <ac:chgData name="飯塚 勤 Tsutomu Iizuka" userId="350afaef-1690-4eec-b4fd-feb567f0fe7f" providerId="ADAL" clId="{D16ABC97-C7A6-4BF6-B854-2F071594CD10}" dt="2023-12-04T05:48:25.162" v="158" actId="478"/>
          <ac:spMkLst>
            <pc:docMk/>
            <pc:sldMk cId="223312562" sldId="12507"/>
            <ac:spMk id="79" creationId="{9AD87E0C-B590-2472-CDA7-91DC6AE60769}"/>
          </ac:spMkLst>
        </pc:spChg>
        <pc:grpChg chg="del">
          <ac:chgData name="飯塚 勤 Tsutomu Iizuka" userId="350afaef-1690-4eec-b4fd-feb567f0fe7f" providerId="ADAL" clId="{D16ABC97-C7A6-4BF6-B854-2F071594CD10}" dt="2023-12-04T05:48:27.582" v="159" actId="478"/>
          <ac:grpSpMkLst>
            <pc:docMk/>
            <pc:sldMk cId="223312562" sldId="12507"/>
            <ac:grpSpMk id="89" creationId="{082720DA-F786-1CC6-83C2-F3508ACDE505}"/>
          </ac:grpSpMkLst>
        </pc:grpChg>
        <pc:graphicFrameChg chg="mod">
          <ac:chgData name="飯塚 勤 Tsutomu Iizuka" userId="350afaef-1690-4eec-b4fd-feb567f0fe7f" providerId="ADAL" clId="{D16ABC97-C7A6-4BF6-B854-2F071594CD10}" dt="2023-12-08T08:25:15.879" v="182" actId="1076"/>
          <ac:graphicFrameMkLst>
            <pc:docMk/>
            <pc:sldMk cId="223312562" sldId="12507"/>
            <ac:graphicFrameMk id="118" creationId="{235DB7BA-A186-9404-0698-13F655AF38B0}"/>
          </ac:graphicFrameMkLst>
        </pc:graphicFrameChg>
        <pc:graphicFrameChg chg="mod">
          <ac:chgData name="飯塚 勤 Tsutomu Iizuka" userId="350afaef-1690-4eec-b4fd-feb567f0fe7f" providerId="ADAL" clId="{D16ABC97-C7A6-4BF6-B854-2F071594CD10}" dt="2023-12-13T04:39:20.210" v="313" actId="554"/>
          <ac:graphicFrameMkLst>
            <pc:docMk/>
            <pc:sldMk cId="223312562" sldId="12507"/>
            <ac:graphicFrameMk id="123" creationId="{94DAF435-8191-3A98-D77D-BD2CDDA7F0A2}"/>
          </ac:graphicFrameMkLst>
        </pc:graphicFrameChg>
        <pc:graphicFrameChg chg="mod">
          <ac:chgData name="飯塚 勤 Tsutomu Iizuka" userId="350afaef-1690-4eec-b4fd-feb567f0fe7f" providerId="ADAL" clId="{D16ABC97-C7A6-4BF6-B854-2F071594CD10}" dt="2023-12-13T04:39:20.210" v="313" actId="554"/>
          <ac:graphicFrameMkLst>
            <pc:docMk/>
            <pc:sldMk cId="223312562" sldId="12507"/>
            <ac:graphicFrameMk id="127" creationId="{0C84732C-8C1C-1D42-A7F1-5355038BFD62}"/>
          </ac:graphicFrameMkLst>
        </pc:graphicFrameChg>
      </pc:sldChg>
      <pc:sldChg chg="delSp mod modClrScheme chgLayout">
        <pc:chgData name="飯塚 勤 Tsutomu Iizuka" userId="350afaef-1690-4eec-b4fd-feb567f0fe7f" providerId="ADAL" clId="{D16ABC97-C7A6-4BF6-B854-2F071594CD10}" dt="2023-12-04T05:44:23.525" v="122" actId="478"/>
        <pc:sldMkLst>
          <pc:docMk/>
          <pc:sldMk cId="102019864" sldId="12509"/>
        </pc:sldMkLst>
        <pc:spChg chg="del">
          <ac:chgData name="飯塚 勤 Tsutomu Iizuka" userId="350afaef-1690-4eec-b4fd-feb567f0fe7f" providerId="ADAL" clId="{D16ABC97-C7A6-4BF6-B854-2F071594CD10}" dt="2023-12-04T05:44:23.525" v="122" actId="478"/>
          <ac:spMkLst>
            <pc:docMk/>
            <pc:sldMk cId="102019864" sldId="12509"/>
            <ac:spMk id="4" creationId="{2BB369B3-FCA2-C1F7-D392-DC0EEB6F8582}"/>
          </ac:spMkLst>
        </pc:spChg>
        <pc:spChg chg="del">
          <ac:chgData name="飯塚 勤 Tsutomu Iizuka" userId="350afaef-1690-4eec-b4fd-feb567f0fe7f" providerId="ADAL" clId="{D16ABC97-C7A6-4BF6-B854-2F071594CD10}" dt="2023-12-04T05:44:23.525" v="122" actId="478"/>
          <ac:spMkLst>
            <pc:docMk/>
            <pc:sldMk cId="102019864" sldId="12509"/>
            <ac:spMk id="10" creationId="{9A98AFCD-2447-1C02-0175-123D198B329D}"/>
          </ac:spMkLst>
        </pc:spChg>
        <pc:spChg chg="del">
          <ac:chgData name="飯塚 勤 Tsutomu Iizuka" userId="350afaef-1690-4eec-b4fd-feb567f0fe7f" providerId="ADAL" clId="{D16ABC97-C7A6-4BF6-B854-2F071594CD10}" dt="2023-12-04T05:44:23.525" v="122" actId="478"/>
          <ac:spMkLst>
            <pc:docMk/>
            <pc:sldMk cId="102019864" sldId="12509"/>
            <ac:spMk id="11" creationId="{9D7ED2A4-4CC4-4D7B-20B5-6346F61428B2}"/>
          </ac:spMkLst>
        </pc:spChg>
        <pc:spChg chg="del">
          <ac:chgData name="飯塚 勤 Tsutomu Iizuka" userId="350afaef-1690-4eec-b4fd-feb567f0fe7f" providerId="ADAL" clId="{D16ABC97-C7A6-4BF6-B854-2F071594CD10}" dt="2023-12-04T05:44:23.525" v="122" actId="478"/>
          <ac:spMkLst>
            <pc:docMk/>
            <pc:sldMk cId="102019864" sldId="12509"/>
            <ac:spMk id="79" creationId="{9AD87E0C-B590-2472-CDA7-91DC6AE60769}"/>
          </ac:spMkLst>
        </pc:spChg>
        <pc:grpChg chg="del">
          <ac:chgData name="飯塚 勤 Tsutomu Iizuka" userId="350afaef-1690-4eec-b4fd-feb567f0fe7f" providerId="ADAL" clId="{D16ABC97-C7A6-4BF6-B854-2F071594CD10}" dt="2023-12-04T05:44:23.525" v="122" actId="478"/>
          <ac:grpSpMkLst>
            <pc:docMk/>
            <pc:sldMk cId="102019864" sldId="12509"/>
            <ac:grpSpMk id="65" creationId="{8B35AFD8-2A9F-D41C-E7C6-24CC9BCC1C1B}"/>
          </ac:grpSpMkLst>
        </pc:grpChg>
      </pc:sldChg>
      <pc:sldChg chg="delSp mod chgLayout">
        <pc:chgData name="飯塚 勤 Tsutomu Iizuka" userId="350afaef-1690-4eec-b4fd-feb567f0fe7f" providerId="ADAL" clId="{D16ABC97-C7A6-4BF6-B854-2F071594CD10}" dt="2023-12-04T05:44:55.380" v="125" actId="478"/>
        <pc:sldMkLst>
          <pc:docMk/>
          <pc:sldMk cId="2972009411" sldId="12510"/>
        </pc:sldMkLst>
        <pc:spChg chg="del">
          <ac:chgData name="飯塚 勤 Tsutomu Iizuka" userId="350afaef-1690-4eec-b4fd-feb567f0fe7f" providerId="ADAL" clId="{D16ABC97-C7A6-4BF6-B854-2F071594CD10}" dt="2023-12-04T05:44:55.380" v="125" actId="478"/>
          <ac:spMkLst>
            <pc:docMk/>
            <pc:sldMk cId="2972009411" sldId="12510"/>
            <ac:spMk id="4" creationId="{9DA2465D-45DB-E28E-6D1C-411B11157C07}"/>
          </ac:spMkLst>
        </pc:spChg>
        <pc:spChg chg="del">
          <ac:chgData name="飯塚 勤 Tsutomu Iizuka" userId="350afaef-1690-4eec-b4fd-feb567f0fe7f" providerId="ADAL" clId="{D16ABC97-C7A6-4BF6-B854-2F071594CD10}" dt="2023-12-04T05:44:55.380" v="125" actId="478"/>
          <ac:spMkLst>
            <pc:docMk/>
            <pc:sldMk cId="2972009411" sldId="12510"/>
            <ac:spMk id="79" creationId="{9AD87E0C-B590-2472-CDA7-91DC6AE60769}"/>
          </ac:spMkLst>
        </pc:spChg>
        <pc:spChg chg="del">
          <ac:chgData name="飯塚 勤 Tsutomu Iizuka" userId="350afaef-1690-4eec-b4fd-feb567f0fe7f" providerId="ADAL" clId="{D16ABC97-C7A6-4BF6-B854-2F071594CD10}" dt="2023-12-04T05:44:55.380" v="125" actId="478"/>
          <ac:spMkLst>
            <pc:docMk/>
            <pc:sldMk cId="2972009411" sldId="12510"/>
            <ac:spMk id="95" creationId="{B7761548-E74E-F076-7329-AEF6F5D01DF7}"/>
          </ac:spMkLst>
        </pc:spChg>
        <pc:spChg chg="del">
          <ac:chgData name="飯塚 勤 Tsutomu Iizuka" userId="350afaef-1690-4eec-b4fd-feb567f0fe7f" providerId="ADAL" clId="{D16ABC97-C7A6-4BF6-B854-2F071594CD10}" dt="2023-12-04T05:44:55.380" v="125" actId="478"/>
          <ac:spMkLst>
            <pc:docMk/>
            <pc:sldMk cId="2972009411" sldId="12510"/>
            <ac:spMk id="96" creationId="{F3C80D2F-729E-AB43-7D12-4F7FF64F3ED9}"/>
          </ac:spMkLst>
        </pc:spChg>
        <pc:grpChg chg="del">
          <ac:chgData name="飯塚 勤 Tsutomu Iizuka" userId="350afaef-1690-4eec-b4fd-feb567f0fe7f" providerId="ADAL" clId="{D16ABC97-C7A6-4BF6-B854-2F071594CD10}" dt="2023-12-04T05:44:55.380" v="125" actId="478"/>
          <ac:grpSpMkLst>
            <pc:docMk/>
            <pc:sldMk cId="2972009411" sldId="12510"/>
            <ac:grpSpMk id="97" creationId="{700AF219-BEB7-1DE0-137D-8838A5744399}"/>
          </ac:grpSpMkLst>
        </pc:grpChg>
      </pc:sldChg>
      <pc:sldChg chg="delSp mod modClrScheme chgLayout">
        <pc:chgData name="飯塚 勤 Tsutomu Iizuka" userId="350afaef-1690-4eec-b4fd-feb567f0fe7f" providerId="ADAL" clId="{D16ABC97-C7A6-4BF6-B854-2F071594CD10}" dt="2023-12-04T05:45:25.290" v="128" actId="700"/>
        <pc:sldMkLst>
          <pc:docMk/>
          <pc:sldMk cId="3067802723" sldId="12511"/>
        </pc:sldMkLst>
        <pc:spChg chg="del">
          <ac:chgData name="飯塚 勤 Tsutomu Iizuka" userId="350afaef-1690-4eec-b4fd-feb567f0fe7f" providerId="ADAL" clId="{D16ABC97-C7A6-4BF6-B854-2F071594CD10}" dt="2023-12-04T05:45:05.143" v="126" actId="21"/>
          <ac:spMkLst>
            <pc:docMk/>
            <pc:sldMk cId="3067802723" sldId="12511"/>
            <ac:spMk id="4" creationId="{383C8365-3385-9CFE-6EEC-A5736A85F3E3}"/>
          </ac:spMkLst>
        </pc:spChg>
        <pc:spChg chg="del">
          <ac:chgData name="飯塚 勤 Tsutomu Iizuka" userId="350afaef-1690-4eec-b4fd-feb567f0fe7f" providerId="ADAL" clId="{D16ABC97-C7A6-4BF6-B854-2F071594CD10}" dt="2023-12-04T05:45:05.143" v="126" actId="21"/>
          <ac:spMkLst>
            <pc:docMk/>
            <pc:sldMk cId="3067802723" sldId="12511"/>
            <ac:spMk id="79" creationId="{9AD87E0C-B590-2472-CDA7-91DC6AE60769}"/>
          </ac:spMkLst>
        </pc:spChg>
        <pc:spChg chg="del">
          <ac:chgData name="飯塚 勤 Tsutomu Iizuka" userId="350afaef-1690-4eec-b4fd-feb567f0fe7f" providerId="ADAL" clId="{D16ABC97-C7A6-4BF6-B854-2F071594CD10}" dt="2023-12-04T05:45:05.143" v="126" actId="21"/>
          <ac:spMkLst>
            <pc:docMk/>
            <pc:sldMk cId="3067802723" sldId="12511"/>
            <ac:spMk id="151" creationId="{607099D3-1A1F-91B3-5B0E-5C2744120413}"/>
          </ac:spMkLst>
        </pc:spChg>
        <pc:spChg chg="del">
          <ac:chgData name="飯塚 勤 Tsutomu Iizuka" userId="350afaef-1690-4eec-b4fd-feb567f0fe7f" providerId="ADAL" clId="{D16ABC97-C7A6-4BF6-B854-2F071594CD10}" dt="2023-12-04T05:45:05.143" v="126" actId="21"/>
          <ac:spMkLst>
            <pc:docMk/>
            <pc:sldMk cId="3067802723" sldId="12511"/>
            <ac:spMk id="152" creationId="{688777B9-0BAC-B873-F348-8E13E3A99195}"/>
          </ac:spMkLst>
        </pc:spChg>
        <pc:grpChg chg="del">
          <ac:chgData name="飯塚 勤 Tsutomu Iizuka" userId="350afaef-1690-4eec-b4fd-feb567f0fe7f" providerId="ADAL" clId="{D16ABC97-C7A6-4BF6-B854-2F071594CD10}" dt="2023-12-04T05:45:05.143" v="126" actId="21"/>
          <ac:grpSpMkLst>
            <pc:docMk/>
            <pc:sldMk cId="3067802723" sldId="12511"/>
            <ac:grpSpMk id="122" creationId="{ABBDCBAE-1CBF-80D8-8311-99580513EE86}"/>
          </ac:grpSpMkLst>
        </pc:grpChg>
      </pc:sldChg>
      <pc:sldChg chg="del">
        <pc:chgData name="飯塚 勤 Tsutomu Iizuka" userId="350afaef-1690-4eec-b4fd-feb567f0fe7f" providerId="ADAL" clId="{D16ABC97-C7A6-4BF6-B854-2F071594CD10}" dt="2023-12-04T05:39:47.118" v="62" actId="47"/>
        <pc:sldMkLst>
          <pc:docMk/>
          <pc:sldMk cId="4119814677" sldId="12513"/>
        </pc:sldMkLst>
      </pc:sldChg>
      <pc:sldChg chg="del">
        <pc:chgData name="飯塚 勤 Tsutomu Iizuka" userId="350afaef-1690-4eec-b4fd-feb567f0fe7f" providerId="ADAL" clId="{D16ABC97-C7A6-4BF6-B854-2F071594CD10}" dt="2023-12-04T05:39:58.100" v="64" actId="47"/>
        <pc:sldMkLst>
          <pc:docMk/>
          <pc:sldMk cId="603653160" sldId="12514"/>
        </pc:sldMkLst>
      </pc:sldChg>
      <pc:sldChg chg="addSp delSp modSp mod ord modClrScheme chgLayout">
        <pc:chgData name="飯塚 勤 Tsutomu Iizuka" userId="350afaef-1690-4eec-b4fd-feb567f0fe7f" providerId="ADAL" clId="{D16ABC97-C7A6-4BF6-B854-2F071594CD10}" dt="2023-12-13T04:53:02.864" v="672" actId="20577"/>
        <pc:sldMkLst>
          <pc:docMk/>
          <pc:sldMk cId="3198688934" sldId="12515"/>
        </pc:sldMkLst>
        <pc:spChg chg="add del mod">
          <ac:chgData name="飯塚 勤 Tsutomu Iizuka" userId="350afaef-1690-4eec-b4fd-feb567f0fe7f" providerId="ADAL" clId="{D16ABC97-C7A6-4BF6-B854-2F071594CD10}" dt="2023-12-04T05:57:06.311" v="179" actId="21"/>
          <ac:spMkLst>
            <pc:docMk/>
            <pc:sldMk cId="3198688934" sldId="12515"/>
            <ac:spMk id="2" creationId="{44AEFE60-1E95-3D5B-7E22-4ACDBC8018C8}"/>
          </ac:spMkLst>
        </pc:spChg>
        <pc:spChg chg="del">
          <ac:chgData name="飯塚 勤 Tsutomu Iizuka" userId="350afaef-1690-4eec-b4fd-feb567f0fe7f" providerId="ADAL" clId="{D16ABC97-C7A6-4BF6-B854-2F071594CD10}" dt="2023-12-04T05:46:42.288" v="146" actId="478"/>
          <ac:spMkLst>
            <pc:docMk/>
            <pc:sldMk cId="3198688934" sldId="12515"/>
            <ac:spMk id="2" creationId="{BF27262D-32F5-B245-1A2A-ECB10DFB9D99}"/>
          </ac:spMkLst>
        </pc:spChg>
        <pc:spChg chg="mod">
          <ac:chgData name="飯塚 勤 Tsutomu Iizuka" userId="350afaef-1690-4eec-b4fd-feb567f0fe7f" providerId="ADAL" clId="{D16ABC97-C7A6-4BF6-B854-2F071594CD10}" dt="2023-12-04T05:42:30.024" v="102" actId="6559"/>
          <ac:spMkLst>
            <pc:docMk/>
            <pc:sldMk cId="3198688934" sldId="12515"/>
            <ac:spMk id="3" creationId="{C9D9A669-BA68-E241-9DA6-24790794A563}"/>
          </ac:spMkLst>
        </pc:spChg>
        <pc:spChg chg="del mod">
          <ac:chgData name="飯塚 勤 Tsutomu Iizuka" userId="350afaef-1690-4eec-b4fd-feb567f0fe7f" providerId="ADAL" clId="{D16ABC97-C7A6-4BF6-B854-2F071594CD10}" dt="2023-12-13T04:42:21.284" v="454" actId="478"/>
          <ac:spMkLst>
            <pc:docMk/>
            <pc:sldMk cId="3198688934" sldId="12515"/>
            <ac:spMk id="8" creationId="{A796655B-B982-4805-2A83-F9311FDF8C14}"/>
          </ac:spMkLst>
        </pc:spChg>
        <pc:spChg chg="add del mod">
          <ac:chgData name="飯塚 勤 Tsutomu Iizuka" userId="350afaef-1690-4eec-b4fd-feb567f0fe7f" providerId="ADAL" clId="{D16ABC97-C7A6-4BF6-B854-2F071594CD10}" dt="2023-12-04T05:46:53.805" v="151" actId="21"/>
          <ac:spMkLst>
            <pc:docMk/>
            <pc:sldMk cId="3198688934" sldId="12515"/>
            <ac:spMk id="13" creationId="{1FFC4133-F875-D99D-E966-F361FD7EC84F}"/>
          </ac:spMkLst>
        </pc:spChg>
        <pc:spChg chg="del mod">
          <ac:chgData name="飯塚 勤 Tsutomu Iizuka" userId="350afaef-1690-4eec-b4fd-feb567f0fe7f" providerId="ADAL" clId="{D16ABC97-C7A6-4BF6-B854-2F071594CD10}" dt="2023-12-13T04:42:18.205" v="453" actId="478"/>
          <ac:spMkLst>
            <pc:docMk/>
            <pc:sldMk cId="3198688934" sldId="12515"/>
            <ac:spMk id="14" creationId="{C695AD54-BBF3-084F-DC6F-8C08C4ED8042}"/>
          </ac:spMkLst>
        </pc:spChg>
        <pc:spChg chg="del mod">
          <ac:chgData name="飯塚 勤 Tsutomu Iizuka" userId="350afaef-1690-4eec-b4fd-feb567f0fe7f" providerId="ADAL" clId="{D16ABC97-C7A6-4BF6-B854-2F071594CD10}" dt="2023-12-13T04:42:57.597" v="463" actId="478"/>
          <ac:spMkLst>
            <pc:docMk/>
            <pc:sldMk cId="3198688934" sldId="12515"/>
            <ac:spMk id="15" creationId="{A4D6CED1-A4D7-B838-BDDF-7EEEEBFD63C0}"/>
          </ac:spMkLst>
        </pc:spChg>
        <pc:spChg chg="del mod">
          <ac:chgData name="飯塚 勤 Tsutomu Iizuka" userId="350afaef-1690-4eec-b4fd-feb567f0fe7f" providerId="ADAL" clId="{D16ABC97-C7A6-4BF6-B854-2F071594CD10}" dt="2023-12-13T04:42:58.751" v="464" actId="478"/>
          <ac:spMkLst>
            <pc:docMk/>
            <pc:sldMk cId="3198688934" sldId="12515"/>
            <ac:spMk id="16" creationId="{6BCE8410-3CAC-882A-74D0-8F1C2EA05BE1}"/>
          </ac:spMkLst>
        </pc:spChg>
        <pc:spChg chg="add mod">
          <ac:chgData name="飯塚 勤 Tsutomu Iizuka" userId="350afaef-1690-4eec-b4fd-feb567f0fe7f" providerId="ADAL" clId="{D16ABC97-C7A6-4BF6-B854-2F071594CD10}" dt="2023-12-04T05:38:32.004" v="48" actId="164"/>
          <ac:spMkLst>
            <pc:docMk/>
            <pc:sldMk cId="3198688934" sldId="12515"/>
            <ac:spMk id="18" creationId="{53DB2AA2-C7CE-6CE7-3B6A-1B4A772693EE}"/>
          </ac:spMkLst>
        </pc:spChg>
        <pc:spChg chg="mod">
          <ac:chgData name="飯塚 勤 Tsutomu Iizuka" userId="350afaef-1690-4eec-b4fd-feb567f0fe7f" providerId="ADAL" clId="{D16ABC97-C7A6-4BF6-B854-2F071594CD10}" dt="2023-12-04T05:38:32.004" v="48" actId="164"/>
          <ac:spMkLst>
            <pc:docMk/>
            <pc:sldMk cId="3198688934" sldId="12515"/>
            <ac:spMk id="38" creationId="{36F57A2F-6465-ECE7-1317-5907F670220B}"/>
          </ac:spMkLst>
        </pc:spChg>
        <pc:spChg chg="del">
          <ac:chgData name="飯塚 勤 Tsutomu Iizuka" userId="350afaef-1690-4eec-b4fd-feb567f0fe7f" providerId="ADAL" clId="{D16ABC97-C7A6-4BF6-B854-2F071594CD10}" dt="2023-12-04T05:46:39.472" v="145" actId="478"/>
          <ac:spMkLst>
            <pc:docMk/>
            <pc:sldMk cId="3198688934" sldId="12515"/>
            <ac:spMk id="71" creationId="{99129478-B4FD-FB5D-1911-D2DC965BD726}"/>
          </ac:spMkLst>
        </pc:spChg>
        <pc:grpChg chg="add del mod ord">
          <ac:chgData name="飯塚 勤 Tsutomu Iizuka" userId="350afaef-1690-4eec-b4fd-feb567f0fe7f" providerId="ADAL" clId="{D16ABC97-C7A6-4BF6-B854-2F071594CD10}" dt="2023-12-04T05:46:33.233" v="143" actId="478"/>
          <ac:grpSpMkLst>
            <pc:docMk/>
            <pc:sldMk cId="3198688934" sldId="12515"/>
            <ac:grpSpMk id="19" creationId="{A02ACE27-2696-C38A-15AD-6260F0F47E7C}"/>
          </ac:grpSpMkLst>
        </pc:grpChg>
        <pc:graphicFrameChg chg="add mod modGraphic">
          <ac:chgData name="飯塚 勤 Tsutomu Iizuka" userId="350afaef-1690-4eec-b4fd-feb567f0fe7f" providerId="ADAL" clId="{D16ABC97-C7A6-4BF6-B854-2F071594CD10}" dt="2023-12-13T04:52:40.321" v="651" actId="242"/>
          <ac:graphicFrameMkLst>
            <pc:docMk/>
            <pc:sldMk cId="3198688934" sldId="12515"/>
            <ac:graphicFrameMk id="2" creationId="{EE3C5346-738D-901F-E19D-698C9B7B2A5F}"/>
          </ac:graphicFrameMkLst>
        </pc:graphicFrameChg>
        <pc:graphicFrameChg chg="mod modGraphic">
          <ac:chgData name="飯塚 勤 Tsutomu Iizuka" userId="350afaef-1690-4eec-b4fd-feb567f0fe7f" providerId="ADAL" clId="{D16ABC97-C7A6-4BF6-B854-2F071594CD10}" dt="2023-12-13T04:52:32.258" v="649" actId="242"/>
          <ac:graphicFrameMkLst>
            <pc:docMk/>
            <pc:sldMk cId="3198688934" sldId="12515"/>
            <ac:graphicFrameMk id="4" creationId="{0EE6E461-5E86-75CE-0786-7EB3DF18ECE6}"/>
          </ac:graphicFrameMkLst>
        </pc:graphicFrameChg>
        <pc:graphicFrameChg chg="del mod modGraphic">
          <ac:chgData name="飯塚 勤 Tsutomu Iizuka" userId="350afaef-1690-4eec-b4fd-feb567f0fe7f" providerId="ADAL" clId="{D16ABC97-C7A6-4BF6-B854-2F071594CD10}" dt="2023-12-13T04:52:07.711" v="646" actId="478"/>
          <ac:graphicFrameMkLst>
            <pc:docMk/>
            <pc:sldMk cId="3198688934" sldId="12515"/>
            <ac:graphicFrameMk id="5" creationId="{22B47577-575F-2DA8-F7FB-7199C5B6C945}"/>
          </ac:graphicFrameMkLst>
        </pc:graphicFrameChg>
        <pc:graphicFrameChg chg="del mod modGraphic">
          <ac:chgData name="飯塚 勤 Tsutomu Iizuka" userId="350afaef-1690-4eec-b4fd-feb567f0fe7f" providerId="ADAL" clId="{D16ABC97-C7A6-4BF6-B854-2F071594CD10}" dt="2023-12-13T04:52:11.277" v="647" actId="478"/>
          <ac:graphicFrameMkLst>
            <pc:docMk/>
            <pc:sldMk cId="3198688934" sldId="12515"/>
            <ac:graphicFrameMk id="6" creationId="{E4EF1B52-E6E8-B61E-E613-55703BE53591}"/>
          </ac:graphicFrameMkLst>
        </pc:graphicFrameChg>
        <pc:graphicFrameChg chg="del mod modGraphic">
          <ac:chgData name="飯塚 勤 Tsutomu Iizuka" userId="350afaef-1690-4eec-b4fd-feb567f0fe7f" providerId="ADAL" clId="{D16ABC97-C7A6-4BF6-B854-2F071594CD10}" dt="2023-12-13T04:52:07.711" v="646" actId="478"/>
          <ac:graphicFrameMkLst>
            <pc:docMk/>
            <pc:sldMk cId="3198688934" sldId="12515"/>
            <ac:graphicFrameMk id="7" creationId="{57C2A037-C71E-37F9-5361-840646FF04BC}"/>
          </ac:graphicFrameMkLst>
        </pc:graphicFrameChg>
        <pc:graphicFrameChg chg="mod modGraphic">
          <ac:chgData name="飯塚 勤 Tsutomu Iizuka" userId="350afaef-1690-4eec-b4fd-feb567f0fe7f" providerId="ADAL" clId="{D16ABC97-C7A6-4BF6-B854-2F071594CD10}" dt="2023-12-13T04:53:02.864" v="672" actId="20577"/>
          <ac:graphicFrameMkLst>
            <pc:docMk/>
            <pc:sldMk cId="3198688934" sldId="12515"/>
            <ac:graphicFrameMk id="52" creationId="{5BEF6302-BF60-0E61-AC69-56FB7CBFCB35}"/>
          </ac:graphicFrameMkLst>
        </pc:graphicFrameChg>
        <pc:cxnChg chg="del mod">
          <ac:chgData name="飯塚 勤 Tsutomu Iizuka" userId="350afaef-1690-4eec-b4fd-feb567f0fe7f" providerId="ADAL" clId="{D16ABC97-C7A6-4BF6-B854-2F071594CD10}" dt="2023-12-04T05:46:36.752" v="144" actId="478"/>
          <ac:cxnSpMkLst>
            <pc:docMk/>
            <pc:sldMk cId="3198688934" sldId="12515"/>
            <ac:cxnSpMk id="9" creationId="{0F654250-F83E-D8DD-4C67-F61BE343E008}"/>
          </ac:cxnSpMkLst>
        </pc:cxnChg>
      </pc:sldChg>
      <pc:sldMasterChg chg="addSldLayout delSldLayout modSldLayout">
        <pc:chgData name="飯塚 勤 Tsutomu Iizuka" userId="350afaef-1690-4eec-b4fd-feb567f0fe7f" providerId="ADAL" clId="{D16ABC97-C7A6-4BF6-B854-2F071594CD10}" dt="2023-12-08T08:30:58.945" v="223" actId="1076"/>
        <pc:sldMasterMkLst>
          <pc:docMk/>
          <pc:sldMasterMk cId="4186810445" sldId="2147483648"/>
        </pc:sldMasterMkLst>
        <pc:sldLayoutChg chg="del">
          <pc:chgData name="飯塚 勤 Tsutomu Iizuka" userId="350afaef-1690-4eec-b4fd-feb567f0fe7f" providerId="ADAL" clId="{D16ABC97-C7A6-4BF6-B854-2F071594CD10}" dt="2023-12-04T05:43:28.077" v="112" actId="2696"/>
          <pc:sldLayoutMkLst>
            <pc:docMk/>
            <pc:sldMasterMk cId="4186810445" sldId="2147483648"/>
            <pc:sldLayoutMk cId="2715238521" sldId="2147483649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8.079" v="113" actId="2696"/>
          <pc:sldLayoutMkLst>
            <pc:docMk/>
            <pc:sldMasterMk cId="4186810445" sldId="2147483648"/>
            <pc:sldLayoutMk cId="1675066583" sldId="2147483650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8.073" v="111" actId="2696"/>
          <pc:sldLayoutMkLst>
            <pc:docMk/>
            <pc:sldMasterMk cId="4186810445" sldId="2147483648"/>
            <pc:sldLayoutMk cId="3909619328" sldId="2147483651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171" v="103" actId="2696"/>
          <pc:sldLayoutMkLst>
            <pc:docMk/>
            <pc:sldMasterMk cId="4186810445" sldId="2147483648"/>
            <pc:sldLayoutMk cId="3988386178" sldId="2147483652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200" v="104" actId="2696"/>
          <pc:sldLayoutMkLst>
            <pc:docMk/>
            <pc:sldMasterMk cId="4186810445" sldId="2147483648"/>
            <pc:sldLayoutMk cId="2384097521" sldId="2147483653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209" v="105" actId="2696"/>
          <pc:sldLayoutMkLst>
            <pc:docMk/>
            <pc:sldMasterMk cId="4186810445" sldId="2147483648"/>
            <pc:sldLayoutMk cId="2920103934" sldId="2147483654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220" v="106" actId="2696"/>
          <pc:sldLayoutMkLst>
            <pc:docMk/>
            <pc:sldMasterMk cId="4186810445" sldId="2147483648"/>
            <pc:sldLayoutMk cId="1285109901" sldId="2147483655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242" v="107" actId="2696"/>
          <pc:sldLayoutMkLst>
            <pc:docMk/>
            <pc:sldMasterMk cId="4186810445" sldId="2147483648"/>
            <pc:sldLayoutMk cId="3649226410" sldId="2147483656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257" v="108" actId="2696"/>
          <pc:sldLayoutMkLst>
            <pc:docMk/>
            <pc:sldMasterMk cId="4186810445" sldId="2147483648"/>
            <pc:sldLayoutMk cId="2580446015" sldId="2147483657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302" v="109" actId="2696"/>
          <pc:sldLayoutMkLst>
            <pc:docMk/>
            <pc:sldMasterMk cId="4186810445" sldId="2147483648"/>
            <pc:sldLayoutMk cId="4226130213" sldId="2147483658"/>
          </pc:sldLayoutMkLst>
        </pc:sldLayoutChg>
        <pc:sldLayoutChg chg="del">
          <pc:chgData name="飯塚 勤 Tsutomu Iizuka" userId="350afaef-1690-4eec-b4fd-feb567f0fe7f" providerId="ADAL" clId="{D16ABC97-C7A6-4BF6-B854-2F071594CD10}" dt="2023-12-04T05:43:25.324" v="110" actId="2696"/>
          <pc:sldLayoutMkLst>
            <pc:docMk/>
            <pc:sldMasterMk cId="4186810445" sldId="2147483648"/>
            <pc:sldLayoutMk cId="4257709476" sldId="2147483659"/>
          </pc:sldLayoutMkLst>
        </pc:sldLayoutChg>
        <pc:sldLayoutChg chg="addSp modSp mod">
          <pc:chgData name="飯塚 勤 Tsutomu Iizuka" userId="350afaef-1690-4eec-b4fd-feb567f0fe7f" providerId="ADAL" clId="{D16ABC97-C7A6-4BF6-B854-2F071594CD10}" dt="2023-12-04T05:54:22.257" v="163" actId="6014"/>
          <pc:sldLayoutMkLst>
            <pc:docMk/>
            <pc:sldMasterMk cId="4186810445" sldId="2147483648"/>
            <pc:sldLayoutMk cId="3360208349" sldId="2147483662"/>
          </pc:sldLayoutMkLst>
          <pc:spChg chg="add 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2" creationId="{2F8B3896-CBE4-CE7D-122B-E21B21A9E3E9}"/>
            </ac:spMkLst>
          </pc:spChg>
          <pc:spChg chg="add 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3" creationId="{FBCE73A8-DED3-40A5-023E-57D2C804BD09}"/>
            </ac:spMkLst>
          </pc:spChg>
          <pc:spChg chg="add 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4" creationId="{0E373648-3B9A-A51C-CB2B-6505DB9191A1}"/>
            </ac:spMkLst>
          </pc:spChg>
          <pc:spChg chg="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25" creationId="{67A51DC6-E574-CBBF-843C-1A0F78CA86FF}"/>
            </ac:spMkLst>
          </pc:spChg>
          <pc:spChg chg="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29" creationId="{729B9DA4-E395-5675-1A0D-75D7C88B3229}"/>
            </ac:spMkLst>
          </pc:spChg>
          <pc:spChg chg="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32" creationId="{5C0B1F72-5272-399A-8724-23FBE7AC098A}"/>
            </ac:spMkLst>
          </pc:spChg>
          <pc:spChg chg="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34" creationId="{C2852787-B542-80DB-FDDB-F3C706CA2A65}"/>
            </ac:spMkLst>
          </pc:spChg>
          <pc:spChg chg="add mod">
            <ac:chgData name="飯塚 勤 Tsutomu Iizuka" userId="350afaef-1690-4eec-b4fd-feb567f0fe7f" providerId="ADAL" clId="{D16ABC97-C7A6-4BF6-B854-2F071594CD10}" dt="2023-12-04T05:44:43.901" v="123"/>
            <ac:spMkLst>
              <pc:docMk/>
              <pc:sldMasterMk cId="4186810445" sldId="2147483648"/>
              <pc:sldLayoutMk cId="3360208349" sldId="2147483662"/>
              <ac:spMk id="35" creationId="{36273016-80A3-6E36-BF20-C410479A272B}"/>
            </ac:spMkLst>
          </pc:spChg>
          <pc:grpChg chg="add 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5" creationId="{3740EA9F-C576-68B9-81FC-E5AC32454464}"/>
            </ac:grpSpMkLst>
          </pc:grpChg>
          <pc:grpChg chg="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6" creationId="{887F5438-896E-669A-4C67-F071D5ECA439}"/>
            </ac:grpSpMkLst>
          </pc:grpChg>
          <pc:grpChg chg="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8" creationId="{C288D4AF-69AD-F9B2-1BAC-3489C05C2019}"/>
            </ac:grpSpMkLst>
          </pc:grpChg>
          <pc:grpChg chg="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9" creationId="{0EB4CCBE-645A-FF00-B451-B243CA229F2E}"/>
            </ac:grpSpMkLst>
          </pc:grpChg>
          <pc:grpChg chg="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11" creationId="{7978F52B-1D10-0825-23B9-09EFE76D6525}"/>
            </ac:grpSpMkLst>
          </pc:grpChg>
          <pc:grpChg chg="mod">
            <ac:chgData name="飯塚 勤 Tsutomu Iizuka" userId="350afaef-1690-4eec-b4fd-feb567f0fe7f" providerId="ADAL" clId="{D16ABC97-C7A6-4BF6-B854-2F071594CD10}" dt="2023-12-04T05:44:43.901" v="123"/>
            <ac:grpSpMkLst>
              <pc:docMk/>
              <pc:sldMasterMk cId="4186810445" sldId="2147483648"/>
              <pc:sldLayoutMk cId="3360208349" sldId="2147483662"/>
              <ac:grpSpMk id="12" creationId="{A4E1631F-D16F-FB92-8D31-334938B79EDA}"/>
            </ac:grpSpMkLst>
          </pc:grp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0" creationId="{8A4A3291-CC56-1009-2F33-C3B81A8DCDDF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3" creationId="{CBDE9B27-7F03-EC89-2581-0A5C88D18ECF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4" creationId="{F0E8FB04-29FD-7862-B1B5-4477DA0B2330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5" creationId="{000A0C91-E48D-A909-3CC7-BC6594818CDC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6" creationId="{ED4873BB-B236-FFE8-D387-6E63C90CC91E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7" creationId="{D2D7D2EC-13FA-891E-8FCD-99B1C108C8F6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8" creationId="{4EE8D35A-7130-E68A-3B4D-519ABC872096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19" creationId="{A6D70BED-4C7C-8BF3-EF6B-6A55FFB35F0A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0" creationId="{B0FFE147-F5D7-F307-1B05-A49EF9945F53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1" creationId="{EE4C7F69-5E0D-FD8E-9AAD-28ADDDC0F692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2" creationId="{124CD99F-D663-7BCB-3521-7C1727F11E3A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3" creationId="{8C09EDEB-659E-6BFD-9229-A5A041AE6602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4" creationId="{82F35816-CAD0-3AA3-583C-0F2879882D12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6" creationId="{53A827E2-F00E-1442-37CC-EF0999DF4EE1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7" creationId="{D16D19C0-9D42-ECDE-B375-9648D0F9DB96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28" creationId="{15ECC6A7-59E8-16A0-F91E-334E7FC6A946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30" creationId="{CC39A9D1-4EFF-7C1E-1E42-7718EB41EF37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31" creationId="{00ECB532-4F76-A526-0900-9516C717AA75}"/>
            </ac:picMkLst>
          </pc:picChg>
          <pc:picChg chg="mod">
            <ac:chgData name="飯塚 勤 Tsutomu Iizuka" userId="350afaef-1690-4eec-b4fd-feb567f0fe7f" providerId="ADAL" clId="{D16ABC97-C7A6-4BF6-B854-2F071594CD10}" dt="2023-12-04T05:44:43.901" v="123"/>
            <ac:picMkLst>
              <pc:docMk/>
              <pc:sldMasterMk cId="4186810445" sldId="2147483648"/>
              <pc:sldLayoutMk cId="3360208349" sldId="2147483662"/>
              <ac:picMk id="33" creationId="{18D59F11-ED9C-D867-9B0E-F95695987DFB}"/>
            </ac:picMkLst>
          </pc:picChg>
        </pc:sldLayoutChg>
        <pc:sldLayoutChg chg="new del mod">
          <pc:chgData name="飯塚 勤 Tsutomu Iizuka" userId="350afaef-1690-4eec-b4fd-feb567f0fe7f" providerId="ADAL" clId="{D16ABC97-C7A6-4BF6-B854-2F071594CD10}" dt="2023-12-04T05:43:39.912" v="119" actId="11236"/>
          <pc:sldLayoutMkLst>
            <pc:docMk/>
            <pc:sldMasterMk cId="4186810445" sldId="2147483648"/>
            <pc:sldLayoutMk cId="680439617" sldId="2147483663"/>
          </pc:sldLayoutMkLst>
        </pc:sldLayoutChg>
        <pc:sldLayoutChg chg="addSp modSp mod">
          <pc:chgData name="飯塚 勤 Tsutomu Iizuka" userId="350afaef-1690-4eec-b4fd-feb567f0fe7f" providerId="ADAL" clId="{D16ABC97-C7A6-4BF6-B854-2F071594CD10}" dt="2023-12-04T05:54:27.996" v="164" actId="6014"/>
          <pc:sldLayoutMkLst>
            <pc:docMk/>
            <pc:sldMasterMk cId="4186810445" sldId="2147483648"/>
            <pc:sldLayoutMk cId="1403829571" sldId="2147483663"/>
          </pc:sldLayoutMkLst>
          <pc:spChg chg="add 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2" creationId="{EC7D1A97-9587-6DDF-F089-EBDF7F43AE84}"/>
            </ac:spMkLst>
          </pc:spChg>
          <pc:spChg chg="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23" creationId="{01C65521-2D83-2994-B662-ADBE59E3428A}"/>
            </ac:spMkLst>
          </pc:spChg>
          <pc:spChg chg="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27" creationId="{4C6D3970-7CDE-310B-40C7-C87207E80EFF}"/>
            </ac:spMkLst>
          </pc:spChg>
          <pc:spChg chg="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30" creationId="{68D1F595-A0E3-95BB-2F1A-C00E1DAA991D}"/>
            </ac:spMkLst>
          </pc:spChg>
          <pc:spChg chg="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32" creationId="{CD1B07DB-04DA-F1AD-BAF0-3EDD372723F1}"/>
            </ac:spMkLst>
          </pc:spChg>
          <pc:spChg chg="add 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33" creationId="{E8413F63-03CB-B0A9-2A76-D4195823515C}"/>
            </ac:spMkLst>
          </pc:spChg>
          <pc:spChg chg="add 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34" creationId="{A10F69A1-AA91-10FA-CF80-6FFC04895413}"/>
            </ac:spMkLst>
          </pc:spChg>
          <pc:spChg chg="add mod">
            <ac:chgData name="飯塚 勤 Tsutomu Iizuka" userId="350afaef-1690-4eec-b4fd-feb567f0fe7f" providerId="ADAL" clId="{D16ABC97-C7A6-4BF6-B854-2F071594CD10}" dt="2023-12-04T05:45:13.356" v="127"/>
            <ac:spMkLst>
              <pc:docMk/>
              <pc:sldMasterMk cId="4186810445" sldId="2147483648"/>
              <pc:sldLayoutMk cId="1403829571" sldId="2147483663"/>
              <ac:spMk id="35" creationId="{B5AE6E8D-1BFE-5EBB-B8C7-2E13B1195F5A}"/>
            </ac:spMkLst>
          </pc:spChg>
          <pc:grpChg chg="add 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3" creationId="{D94DFBE9-5A63-91B0-5B6B-807FA3325496}"/>
            </ac:grpSpMkLst>
          </pc:grpChg>
          <pc:grpChg chg="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4" creationId="{57E7B389-1DD4-8703-0196-FE9C1154C403}"/>
            </ac:grpSpMkLst>
          </pc:grpChg>
          <pc:grpChg chg="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5" creationId="{960B08D1-8264-1773-77A5-D1DEAA4ADD64}"/>
            </ac:grpSpMkLst>
          </pc:grpChg>
          <pc:grpChg chg="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6" creationId="{3ED23C40-23B7-5FE5-E6E8-8041177F9584}"/>
            </ac:grpSpMkLst>
          </pc:grpChg>
          <pc:grpChg chg="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9" creationId="{E27FF274-66EF-5E4B-73B4-0D538CDF48E4}"/>
            </ac:grpSpMkLst>
          </pc:grpChg>
          <pc:grpChg chg="mod">
            <ac:chgData name="飯塚 勤 Tsutomu Iizuka" userId="350afaef-1690-4eec-b4fd-feb567f0fe7f" providerId="ADAL" clId="{D16ABC97-C7A6-4BF6-B854-2F071594CD10}" dt="2023-12-04T05:45:13.356" v="127"/>
            <ac:grpSpMkLst>
              <pc:docMk/>
              <pc:sldMasterMk cId="4186810445" sldId="2147483648"/>
              <pc:sldLayoutMk cId="1403829571" sldId="2147483663"/>
              <ac:grpSpMk id="10" creationId="{8C68108F-973A-6A8D-094A-802A3360AFC4}"/>
            </ac:grpSpMkLst>
          </pc:grp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8" creationId="{59589AEF-C06B-D96E-E885-B40D55D5187F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1" creationId="{E982C905-E86A-060E-F899-4934925AF73E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2" creationId="{88C7E997-FEB0-2157-1448-B4202A69E54B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3" creationId="{BFFA041F-9C15-8BD5-154C-341FCE97188A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4" creationId="{36BD20D6-8511-48E8-E35D-1C4E8A190E53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5" creationId="{99EC64B2-2716-54A5-DC9C-72A0C99D39F3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6" creationId="{B5A06526-4A1B-6A5E-3465-21849A505E7A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7" creationId="{36F1AAE5-23E8-5AD1-88AF-F1834DA9102E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8" creationId="{454BB367-921F-AED6-BACB-FB76C824BB14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19" creationId="{09BD04A4-600C-AC1C-15CF-7B32A980DD36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0" creationId="{74B35D35-9A5F-BE88-EF1F-115EEB719429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1" creationId="{9EB03F82-AD7A-C3A5-AEA9-D676ACA9ACC3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2" creationId="{76AE4C1C-7CA5-408D-F2C6-1C923850FB80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4" creationId="{FB856133-15DF-AEC8-542A-6CEB25F97803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5" creationId="{42EB165A-F065-DCB2-EA8E-D21F28FAEFF3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6" creationId="{D09ECA4D-65CA-621B-3016-9AFBCF8AE438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8" creationId="{BB88075E-394C-2394-CE30-D9DBFEA92CAA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29" creationId="{C6FD8624-FB46-9578-4468-8DD432786BC4}"/>
            </ac:picMkLst>
          </pc:picChg>
          <pc:picChg chg="mod">
            <ac:chgData name="飯塚 勤 Tsutomu Iizuka" userId="350afaef-1690-4eec-b4fd-feb567f0fe7f" providerId="ADAL" clId="{D16ABC97-C7A6-4BF6-B854-2F071594CD10}" dt="2023-12-04T05:45:13.356" v="127"/>
            <ac:picMkLst>
              <pc:docMk/>
              <pc:sldMasterMk cId="4186810445" sldId="2147483648"/>
              <pc:sldLayoutMk cId="1403829571" sldId="2147483663"/>
              <ac:picMk id="31" creationId="{D03AFFD5-6F3A-3CE5-0A38-F26703EDAD96}"/>
            </ac:picMkLst>
          </pc:picChg>
        </pc:sldLayoutChg>
        <pc:sldLayoutChg chg="addSp modSp mod">
          <pc:chgData name="飯塚 勤 Tsutomu Iizuka" userId="350afaef-1690-4eec-b4fd-feb567f0fe7f" providerId="ADAL" clId="{D16ABC97-C7A6-4BF6-B854-2F071594CD10}" dt="2023-12-04T05:54:02.527" v="160" actId="6014"/>
          <pc:sldLayoutMkLst>
            <pc:docMk/>
            <pc:sldMasterMk cId="4186810445" sldId="2147483648"/>
            <pc:sldLayoutMk cId="821035795" sldId="2147483664"/>
          </pc:sldLayoutMkLst>
          <pc:spChg chg="add mod">
            <ac:chgData name="飯塚 勤 Tsutomu Iizuka" userId="350afaef-1690-4eec-b4fd-feb567f0fe7f" providerId="ADAL" clId="{D16ABC97-C7A6-4BF6-B854-2F071594CD10}" dt="2023-12-04T05:48:17.287" v="157"/>
            <ac:spMkLst>
              <pc:docMk/>
              <pc:sldMasterMk cId="4186810445" sldId="2147483648"/>
              <pc:sldLayoutMk cId="821035795" sldId="2147483664"/>
              <ac:spMk id="2" creationId="{E491D229-4E2D-82FE-38EA-7EE1797A9362}"/>
            </ac:spMkLst>
          </pc:spChg>
          <pc:spChg chg="mod">
            <ac:chgData name="飯塚 勤 Tsutomu Iizuka" userId="350afaef-1690-4eec-b4fd-feb567f0fe7f" providerId="ADAL" clId="{D16ABC97-C7A6-4BF6-B854-2F071594CD10}" dt="2023-12-04T05:48:17.287" v="157"/>
            <ac:spMkLst>
              <pc:docMk/>
              <pc:sldMasterMk cId="4186810445" sldId="2147483648"/>
              <pc:sldLayoutMk cId="821035795" sldId="2147483664"/>
              <ac:spMk id="23" creationId="{33F11962-249E-7E9A-B7DB-823DE1AAE55A}"/>
            </ac:spMkLst>
          </pc:spChg>
          <pc:spChg chg="mod">
            <ac:chgData name="飯塚 勤 Tsutomu Iizuka" userId="350afaef-1690-4eec-b4fd-feb567f0fe7f" providerId="ADAL" clId="{D16ABC97-C7A6-4BF6-B854-2F071594CD10}" dt="2023-12-04T05:48:17.287" v="157"/>
            <ac:spMkLst>
              <pc:docMk/>
              <pc:sldMasterMk cId="4186810445" sldId="2147483648"/>
              <pc:sldLayoutMk cId="821035795" sldId="2147483664"/>
              <ac:spMk id="27" creationId="{9E1348C9-DE66-A3E7-195F-85E95B4D21EF}"/>
            </ac:spMkLst>
          </pc:spChg>
          <pc:spChg chg="mod">
            <ac:chgData name="飯塚 勤 Tsutomu Iizuka" userId="350afaef-1690-4eec-b4fd-feb567f0fe7f" providerId="ADAL" clId="{D16ABC97-C7A6-4BF6-B854-2F071594CD10}" dt="2023-12-04T05:48:17.287" v="157"/>
            <ac:spMkLst>
              <pc:docMk/>
              <pc:sldMasterMk cId="4186810445" sldId="2147483648"/>
              <pc:sldLayoutMk cId="821035795" sldId="2147483664"/>
              <ac:spMk id="30" creationId="{05690FE4-35BA-F32F-ECA0-7D34ADF1F28B}"/>
            </ac:spMkLst>
          </pc:spChg>
          <pc:spChg chg="mod">
            <ac:chgData name="飯塚 勤 Tsutomu Iizuka" userId="350afaef-1690-4eec-b4fd-feb567f0fe7f" providerId="ADAL" clId="{D16ABC97-C7A6-4BF6-B854-2F071594CD10}" dt="2023-12-04T05:48:17.287" v="157"/>
            <ac:spMkLst>
              <pc:docMk/>
              <pc:sldMasterMk cId="4186810445" sldId="2147483648"/>
              <pc:sldLayoutMk cId="821035795" sldId="2147483664"/>
              <ac:spMk id="32" creationId="{4AB66F6B-8C2F-0588-2D54-0A96DE20E037}"/>
            </ac:spMkLst>
          </pc:spChg>
          <pc:grpChg chg="add 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3" creationId="{35DDE8FC-FE92-5C35-2823-7DF9C0C2CC55}"/>
            </ac:grpSpMkLst>
          </pc:grpChg>
          <pc:grpChg chg="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4" creationId="{746E7195-CE76-E2C2-59B9-8F14FA282C41}"/>
            </ac:grpSpMkLst>
          </pc:grpChg>
          <pc:grpChg chg="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5" creationId="{3B802EC0-826D-CA59-4AFA-957182DFE05A}"/>
            </ac:grpSpMkLst>
          </pc:grpChg>
          <pc:grpChg chg="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6" creationId="{0C9CB4C3-57F2-89C0-12AD-0D3009174976}"/>
            </ac:grpSpMkLst>
          </pc:grpChg>
          <pc:grpChg chg="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9" creationId="{DDB9433F-C046-4F2B-ED42-A3C122680347}"/>
            </ac:grpSpMkLst>
          </pc:grpChg>
          <pc:grpChg chg="mod">
            <ac:chgData name="飯塚 勤 Tsutomu Iizuka" userId="350afaef-1690-4eec-b4fd-feb567f0fe7f" providerId="ADAL" clId="{D16ABC97-C7A6-4BF6-B854-2F071594CD10}" dt="2023-12-04T05:48:17.287" v="157"/>
            <ac:grpSpMkLst>
              <pc:docMk/>
              <pc:sldMasterMk cId="4186810445" sldId="2147483648"/>
              <pc:sldLayoutMk cId="821035795" sldId="2147483664"/>
              <ac:grpSpMk id="10" creationId="{C9C68A0D-5BE3-8BC4-07A7-18CD162D58ED}"/>
            </ac:grpSpMkLst>
          </pc:grp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8" creationId="{A4929BBA-578B-7D4C-4494-1FAEB170A5CE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1" creationId="{76A563AA-423D-1A5E-831E-D7CF111C4104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2" creationId="{94A89E5C-522A-9C7F-6C0E-3C5A3AACBD97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3" creationId="{6E6A72AE-CADD-4745-5134-F4AB88625927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4" creationId="{DE7B9735-1DE8-CBAC-4D3E-B27517852B78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5" creationId="{946EA4B6-4F4F-94A1-2B59-E62B3898FEC2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6" creationId="{733CAB0F-E434-AC31-56A6-80E1A27C4FE5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7" creationId="{7BBCFDEA-5149-D746-11DA-32E2BBE27BB3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8" creationId="{2B7A73A5-43E7-5489-3C31-7310460BD171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19" creationId="{DFCB33B8-E77B-0350-95B8-FB50435DCC58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0" creationId="{BE839CC3-7094-AF78-0138-C04ABE532882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1" creationId="{3FA2ADF7-6699-85F7-5F7A-6B89E5CFAFD2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2" creationId="{82ED3B42-01BA-BD0F-3017-BEEC04AE8F99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4" creationId="{170E6710-0225-9737-E515-49140C032DBA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5" creationId="{D783BCAD-6B9E-389A-0AD1-D95FF2950D58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6" creationId="{73CFDEF9-CFAC-2C0F-E9D4-66D7911B9055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8" creationId="{8DF4B516-6F24-7E50-C3C6-220EB8585E61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29" creationId="{992C65BC-8D69-1EB1-0F00-B5BC973FBAB5}"/>
            </ac:picMkLst>
          </pc:picChg>
          <pc:picChg chg="mod">
            <ac:chgData name="飯塚 勤 Tsutomu Iizuka" userId="350afaef-1690-4eec-b4fd-feb567f0fe7f" providerId="ADAL" clId="{D16ABC97-C7A6-4BF6-B854-2F071594CD10}" dt="2023-12-04T05:48:17.287" v="157"/>
            <ac:picMkLst>
              <pc:docMk/>
              <pc:sldMasterMk cId="4186810445" sldId="2147483648"/>
              <pc:sldLayoutMk cId="821035795" sldId="2147483664"/>
              <ac:picMk id="31" creationId="{B57D66DF-AED2-E8E5-0BE5-3A020E6055E1}"/>
            </ac:picMkLst>
          </pc:picChg>
        </pc:sldLayoutChg>
        <pc:sldLayoutChg chg="new del mod">
          <pc:chgData name="飯塚 勤 Tsutomu Iizuka" userId="350afaef-1690-4eec-b4fd-feb567f0fe7f" providerId="ADAL" clId="{D16ABC97-C7A6-4BF6-B854-2F071594CD10}" dt="2023-12-04T05:43:39.728" v="118" actId="11236"/>
          <pc:sldLayoutMkLst>
            <pc:docMk/>
            <pc:sldMasterMk cId="4186810445" sldId="2147483648"/>
            <pc:sldLayoutMk cId="4240145477" sldId="2147483664"/>
          </pc:sldLayoutMkLst>
        </pc:sldLayoutChg>
        <pc:sldLayoutChg chg="new del mod">
          <pc:chgData name="飯塚 勤 Tsutomu Iizuka" userId="350afaef-1690-4eec-b4fd-feb567f0fe7f" providerId="ADAL" clId="{D16ABC97-C7A6-4BF6-B854-2F071594CD10}" dt="2023-12-04T05:43:39.197" v="117" actId="11236"/>
          <pc:sldLayoutMkLst>
            <pc:docMk/>
            <pc:sldMasterMk cId="4186810445" sldId="2147483648"/>
            <pc:sldLayoutMk cId="134299488" sldId="2147483665"/>
          </pc:sldLayoutMkLst>
        </pc:sldLayoutChg>
        <pc:sldLayoutChg chg="addSp delSp modSp mod">
          <pc:chgData name="飯塚 勤 Tsutomu Iizuka" userId="350afaef-1690-4eec-b4fd-feb567f0fe7f" providerId="ADAL" clId="{D16ABC97-C7A6-4BF6-B854-2F071594CD10}" dt="2023-12-08T08:30:58.945" v="223" actId="1076"/>
          <pc:sldLayoutMkLst>
            <pc:docMk/>
            <pc:sldMasterMk cId="4186810445" sldId="2147483648"/>
            <pc:sldLayoutMk cId="1844594640" sldId="2147483665"/>
          </pc:sldLayoutMkLst>
          <pc:spChg chg="mod">
            <ac:chgData name="飯塚 勤 Tsutomu Iizuka" userId="350afaef-1690-4eec-b4fd-feb567f0fe7f" providerId="ADAL" clId="{D16ABC97-C7A6-4BF6-B854-2F071594CD10}" dt="2023-12-04T05:46:00.944" v="130"/>
            <ac:spMkLst>
              <pc:docMk/>
              <pc:sldMasterMk cId="4186810445" sldId="2147483648"/>
              <pc:sldLayoutMk cId="1844594640" sldId="2147483665"/>
              <ac:spMk id="3" creationId="{CFA0211F-4CFB-F40F-2DDC-86297C1145B0}"/>
            </ac:spMkLst>
          </pc:spChg>
          <pc:spChg chg="mod">
            <ac:chgData name="飯塚 勤 Tsutomu Iizuka" userId="350afaef-1690-4eec-b4fd-feb567f0fe7f" providerId="ADAL" clId="{D16ABC97-C7A6-4BF6-B854-2F071594CD10}" dt="2023-12-04T05:46:00.944" v="130"/>
            <ac:spMkLst>
              <pc:docMk/>
              <pc:sldMasterMk cId="4186810445" sldId="2147483648"/>
              <pc:sldLayoutMk cId="1844594640" sldId="2147483665"/>
              <ac:spMk id="4" creationId="{11E8C9CF-A1F7-1B93-6162-C8ECCF3D2EDE}"/>
            </ac:spMkLst>
          </pc:spChg>
          <pc:spChg chg="mod">
            <ac:chgData name="飯塚 勤 Tsutomu Iizuka" userId="350afaef-1690-4eec-b4fd-feb567f0fe7f" providerId="ADAL" clId="{D16ABC97-C7A6-4BF6-B854-2F071594CD10}" dt="2023-12-04T05:46:00.944" v="130"/>
            <ac:spMkLst>
              <pc:docMk/>
              <pc:sldMasterMk cId="4186810445" sldId="2147483648"/>
              <pc:sldLayoutMk cId="1844594640" sldId="2147483665"/>
              <ac:spMk id="5" creationId="{93ED68E8-91C0-F95F-4C90-FA3A8DF8CFD4}"/>
            </ac:spMkLst>
          </pc:spChg>
          <pc:spChg chg="add mod">
            <ac:chgData name="飯塚 勤 Tsutomu Iizuka" userId="350afaef-1690-4eec-b4fd-feb567f0fe7f" providerId="ADAL" clId="{D16ABC97-C7A6-4BF6-B854-2F071594CD10}" dt="2023-12-04T05:46:00.944" v="130"/>
            <ac:spMkLst>
              <pc:docMk/>
              <pc:sldMasterMk cId="4186810445" sldId="2147483648"/>
              <pc:sldLayoutMk cId="1844594640" sldId="2147483665"/>
              <ac:spMk id="6" creationId="{A43EBAE1-D6DD-B23E-8C30-AC7D124424C6}"/>
            </ac:spMkLst>
          </pc:spChg>
          <pc:spChg chg="add del mod">
            <ac:chgData name="飯塚 勤 Tsutomu Iizuka" userId="350afaef-1690-4eec-b4fd-feb567f0fe7f" providerId="ADAL" clId="{D16ABC97-C7A6-4BF6-B854-2F071594CD10}" dt="2023-12-04T05:46:07.991" v="132" actId="478"/>
            <ac:spMkLst>
              <pc:docMk/>
              <pc:sldMasterMk cId="4186810445" sldId="2147483648"/>
              <pc:sldLayoutMk cId="1844594640" sldId="2147483665"/>
              <ac:spMk id="8" creationId="{AB0039A0-2370-7320-6134-22D20657124C}"/>
            </ac:spMkLst>
          </pc:spChg>
          <pc:spChg chg="add mod">
            <ac:chgData name="飯塚 勤 Tsutomu Iizuka" userId="350afaef-1690-4eec-b4fd-feb567f0fe7f" providerId="ADAL" clId="{D16ABC97-C7A6-4BF6-B854-2F071594CD10}" dt="2023-12-08T08:30:45.437" v="221" actId="20577"/>
            <ac:spMkLst>
              <pc:docMk/>
              <pc:sldMasterMk cId="4186810445" sldId="2147483648"/>
              <pc:sldLayoutMk cId="1844594640" sldId="2147483665"/>
              <ac:spMk id="10" creationId="{60250DCF-AAF8-69A2-668F-A16E2B8D9613}"/>
            </ac:spMkLst>
          </pc:spChg>
          <pc:spChg chg="add del mod">
            <ac:chgData name="飯塚 勤 Tsutomu Iizuka" userId="350afaef-1690-4eec-b4fd-feb567f0fe7f" providerId="ADAL" clId="{D16ABC97-C7A6-4BF6-B854-2F071594CD10}" dt="2023-12-04T05:46:17.412" v="141" actId="478"/>
            <ac:spMkLst>
              <pc:docMk/>
              <pc:sldMasterMk cId="4186810445" sldId="2147483648"/>
              <pc:sldLayoutMk cId="1844594640" sldId="2147483665"/>
              <ac:spMk id="16" creationId="{E7E96559-43F1-3680-AB42-4A43C3D795F1}"/>
            </ac:spMkLst>
          </pc:spChg>
          <pc:spChg chg="add del mod">
            <ac:chgData name="飯塚 勤 Tsutomu Iizuka" userId="350afaef-1690-4eec-b4fd-feb567f0fe7f" providerId="ADAL" clId="{D16ABC97-C7A6-4BF6-B854-2F071594CD10}" dt="2023-12-04T05:46:10.759" v="134" actId="478"/>
            <ac:spMkLst>
              <pc:docMk/>
              <pc:sldMasterMk cId="4186810445" sldId="2147483648"/>
              <pc:sldLayoutMk cId="1844594640" sldId="2147483665"/>
              <ac:spMk id="17" creationId="{2BA835EE-3CA3-0924-1973-F9F19B419BEE}"/>
            </ac:spMkLst>
          </pc:spChg>
          <pc:spChg chg="add del mod">
            <ac:chgData name="飯塚 勤 Tsutomu Iizuka" userId="350afaef-1690-4eec-b4fd-feb567f0fe7f" providerId="ADAL" clId="{D16ABC97-C7A6-4BF6-B854-2F071594CD10}" dt="2023-12-04T05:46:12.579" v="136" actId="478"/>
            <ac:spMkLst>
              <pc:docMk/>
              <pc:sldMasterMk cId="4186810445" sldId="2147483648"/>
              <pc:sldLayoutMk cId="1844594640" sldId="2147483665"/>
              <ac:spMk id="18" creationId="{D8E33ADB-65C8-C7B6-6E43-9FAA06963AFA}"/>
            </ac:spMkLst>
          </pc:spChg>
          <pc:spChg chg="add del mod">
            <ac:chgData name="飯塚 勤 Tsutomu Iizuka" userId="350afaef-1690-4eec-b4fd-feb567f0fe7f" providerId="ADAL" clId="{D16ABC97-C7A6-4BF6-B854-2F071594CD10}" dt="2023-12-04T05:46:15.618" v="139" actId="478"/>
            <ac:spMkLst>
              <pc:docMk/>
              <pc:sldMasterMk cId="4186810445" sldId="2147483648"/>
              <pc:sldLayoutMk cId="1844594640" sldId="2147483665"/>
              <ac:spMk id="19" creationId="{428914D2-6DF2-9544-E273-B0FC9981BDDB}"/>
            </ac:spMkLst>
          </pc:spChg>
          <pc:spChg chg="add del mod">
            <ac:chgData name="飯塚 勤 Tsutomu Iizuka" userId="350afaef-1690-4eec-b4fd-feb567f0fe7f" providerId="ADAL" clId="{D16ABC97-C7A6-4BF6-B854-2F071594CD10}" dt="2023-12-04T05:56:50.542" v="176" actId="21"/>
            <ac:spMkLst>
              <pc:docMk/>
              <pc:sldMasterMk cId="4186810445" sldId="2147483648"/>
              <pc:sldLayoutMk cId="1844594640" sldId="2147483665"/>
              <ac:spMk id="20" creationId="{3788A179-85E1-241F-C75E-DBBD023259BC}"/>
            </ac:spMkLst>
          </pc:spChg>
          <pc:spChg chg="mod">
            <ac:chgData name="飯塚 勤 Tsutomu Iizuka" userId="350afaef-1690-4eec-b4fd-feb567f0fe7f" providerId="ADAL" clId="{D16ABC97-C7A6-4BF6-B854-2F071594CD10}" dt="2023-12-04T05:55:48.165" v="166"/>
            <ac:spMkLst>
              <pc:docMk/>
              <pc:sldMasterMk cId="4186810445" sldId="2147483648"/>
              <pc:sldLayoutMk cId="1844594640" sldId="2147483665"/>
              <ac:spMk id="30" creationId="{FB8017EF-F332-5464-A106-CD59EDBBA3F9}"/>
            </ac:spMkLst>
          </pc:spChg>
          <pc:spChg chg="mod">
            <ac:chgData name="飯塚 勤 Tsutomu Iizuka" userId="350afaef-1690-4eec-b4fd-feb567f0fe7f" providerId="ADAL" clId="{D16ABC97-C7A6-4BF6-B854-2F071594CD10}" dt="2023-12-04T05:55:48.165" v="166"/>
            <ac:spMkLst>
              <pc:docMk/>
              <pc:sldMasterMk cId="4186810445" sldId="2147483648"/>
              <pc:sldLayoutMk cId="1844594640" sldId="2147483665"/>
              <ac:spMk id="34" creationId="{1D0574CB-7018-05E4-303D-8A24EABAC403}"/>
            </ac:spMkLst>
          </pc:spChg>
          <pc:spChg chg="mod">
            <ac:chgData name="飯塚 勤 Tsutomu Iizuka" userId="350afaef-1690-4eec-b4fd-feb567f0fe7f" providerId="ADAL" clId="{D16ABC97-C7A6-4BF6-B854-2F071594CD10}" dt="2023-12-04T05:55:48.165" v="166"/>
            <ac:spMkLst>
              <pc:docMk/>
              <pc:sldMasterMk cId="4186810445" sldId="2147483648"/>
              <pc:sldLayoutMk cId="1844594640" sldId="2147483665"/>
              <ac:spMk id="37" creationId="{FA2C844F-812C-9C60-FFA5-8C8EBB644FD7}"/>
            </ac:spMkLst>
          </pc:spChg>
          <pc:spChg chg="mod">
            <ac:chgData name="飯塚 勤 Tsutomu Iizuka" userId="350afaef-1690-4eec-b4fd-feb567f0fe7f" providerId="ADAL" clId="{D16ABC97-C7A6-4BF6-B854-2F071594CD10}" dt="2023-12-04T05:55:48.165" v="166"/>
            <ac:spMkLst>
              <pc:docMk/>
              <pc:sldMasterMk cId="4186810445" sldId="2147483648"/>
              <pc:sldLayoutMk cId="1844594640" sldId="2147483665"/>
              <ac:spMk id="39" creationId="{E7D3F56E-12DE-8E6C-EE9E-18B8466E82F7}"/>
            </ac:spMkLst>
          </pc:spChg>
          <pc:spChg chg="add mod">
            <ac:chgData name="飯塚 勤 Tsutomu Iizuka" userId="350afaef-1690-4eec-b4fd-feb567f0fe7f" providerId="ADAL" clId="{D16ABC97-C7A6-4BF6-B854-2F071594CD10}" dt="2023-12-04T05:57:11.479" v="180"/>
            <ac:spMkLst>
              <pc:docMk/>
              <pc:sldMasterMk cId="4186810445" sldId="2147483648"/>
              <pc:sldLayoutMk cId="1844594640" sldId="2147483665"/>
              <ac:spMk id="40" creationId="{6BCFDE92-D259-ABE9-0090-83916CBF0C8A}"/>
            </ac:spMkLst>
          </pc:spChg>
          <pc:grpChg chg="add mod">
            <ac:chgData name="飯塚 勤 Tsutomu Iizuka" userId="350afaef-1690-4eec-b4fd-feb567f0fe7f" providerId="ADAL" clId="{D16ABC97-C7A6-4BF6-B854-2F071594CD10}" dt="2023-12-04T05:46:00.944" v="130"/>
            <ac:grpSpMkLst>
              <pc:docMk/>
              <pc:sldMasterMk cId="4186810445" sldId="2147483648"/>
              <pc:sldLayoutMk cId="1844594640" sldId="2147483665"/>
              <ac:grpSpMk id="2" creationId="{0A0672DC-79FB-C910-BDD1-02DCB38A2D2C}"/>
            </ac:grpSpMkLst>
          </pc:grpChg>
          <pc:grpChg chg="add del mod">
            <ac:chgData name="飯塚 勤 Tsutomu Iizuka" userId="350afaef-1690-4eec-b4fd-feb567f0fe7f" providerId="ADAL" clId="{D16ABC97-C7A6-4BF6-B854-2F071594CD10}" dt="2023-12-04T05:56:13.861" v="168" actId="478"/>
            <ac:grpSpMkLst>
              <pc:docMk/>
              <pc:sldMasterMk cId="4186810445" sldId="2147483648"/>
              <pc:sldLayoutMk cId="1844594640" sldId="2147483665"/>
              <ac:grpSpMk id="8" creationId="{5A84416F-CA19-0669-AD78-5190DCA5284F}"/>
            </ac:grpSpMkLst>
          </pc:grpChg>
          <pc:grpChg chg="mod">
            <ac:chgData name="飯塚 勤 Tsutomu Iizuka" userId="350afaef-1690-4eec-b4fd-feb567f0fe7f" providerId="ADAL" clId="{D16ABC97-C7A6-4BF6-B854-2F071594CD10}" dt="2023-12-04T05:55:48.165" v="166"/>
            <ac:grpSpMkLst>
              <pc:docMk/>
              <pc:sldMasterMk cId="4186810445" sldId="2147483648"/>
              <pc:sldLayoutMk cId="1844594640" sldId="2147483665"/>
              <ac:grpSpMk id="9" creationId="{5914F716-0C3C-C559-C80B-1BB6738F1AD1}"/>
            </ac:grpSpMkLst>
          </pc:grpChg>
          <pc:grpChg chg="mod">
            <ac:chgData name="飯塚 勤 Tsutomu Iizuka" userId="350afaef-1690-4eec-b4fd-feb567f0fe7f" providerId="ADAL" clId="{D16ABC97-C7A6-4BF6-B854-2F071594CD10}" dt="2023-12-04T05:55:48.165" v="166"/>
            <ac:grpSpMkLst>
              <pc:docMk/>
              <pc:sldMasterMk cId="4186810445" sldId="2147483648"/>
              <pc:sldLayoutMk cId="1844594640" sldId="2147483665"/>
              <ac:grpSpMk id="11" creationId="{750F05A6-8D21-8140-5A36-CD3E8E1DA5FF}"/>
            </ac:grpSpMkLst>
          </pc:grpChg>
          <pc:grpChg chg="mod">
            <ac:chgData name="飯塚 勤 Tsutomu Iizuka" userId="350afaef-1690-4eec-b4fd-feb567f0fe7f" providerId="ADAL" clId="{D16ABC97-C7A6-4BF6-B854-2F071594CD10}" dt="2023-12-04T05:55:48.165" v="166"/>
            <ac:grpSpMkLst>
              <pc:docMk/>
              <pc:sldMasterMk cId="4186810445" sldId="2147483648"/>
              <pc:sldLayoutMk cId="1844594640" sldId="2147483665"/>
              <ac:grpSpMk id="12" creationId="{15CEDDE4-ED5F-6C54-9DAC-2E32BC5CA9B2}"/>
            </ac:grpSpMkLst>
          </pc:grpChg>
          <pc:grpChg chg="mod">
            <ac:chgData name="飯塚 勤 Tsutomu Iizuka" userId="350afaef-1690-4eec-b4fd-feb567f0fe7f" providerId="ADAL" clId="{D16ABC97-C7A6-4BF6-B854-2F071594CD10}" dt="2023-12-04T05:55:48.165" v="166"/>
            <ac:grpSpMkLst>
              <pc:docMk/>
              <pc:sldMasterMk cId="4186810445" sldId="2147483648"/>
              <pc:sldLayoutMk cId="1844594640" sldId="2147483665"/>
              <ac:grpSpMk id="14" creationId="{B2B47CFF-B103-D41A-5C16-F7C49C9E8CB7}"/>
            </ac:grpSpMkLst>
          </pc:grpChg>
          <pc:grpChg chg="mod">
            <ac:chgData name="飯塚 勤 Tsutomu Iizuka" userId="350afaef-1690-4eec-b4fd-feb567f0fe7f" providerId="ADAL" clId="{D16ABC97-C7A6-4BF6-B854-2F071594CD10}" dt="2023-12-04T05:55:48.165" v="166"/>
            <ac:grpSpMkLst>
              <pc:docMk/>
              <pc:sldMasterMk cId="4186810445" sldId="2147483648"/>
              <pc:sldLayoutMk cId="1844594640" sldId="2147483665"/>
              <ac:grpSpMk id="16" creationId="{2AD4482B-31AA-45C8-84DD-07D2030DF421}"/>
            </ac:grpSpMkLst>
          </pc:grpChg>
          <pc:graphicFrameChg chg="add del mod">
            <ac:chgData name="飯塚 勤 Tsutomu Iizuka" userId="350afaef-1690-4eec-b4fd-feb567f0fe7f" providerId="ADAL" clId="{D16ABC97-C7A6-4BF6-B854-2F071594CD10}" dt="2023-12-04T05:46:05.069" v="131" actId="478"/>
            <ac:graphicFrameMkLst>
              <pc:docMk/>
              <pc:sldMasterMk cId="4186810445" sldId="2147483648"/>
              <pc:sldLayoutMk cId="1844594640" sldId="2147483665"/>
              <ac:graphicFrameMk id="9" creationId="{E62ED20C-83F8-6CCC-103F-6FA25AF5CFE6}"/>
            </ac:graphicFrameMkLst>
          </pc:graphicFrameChg>
          <pc:graphicFrameChg chg="add del mod">
            <ac:chgData name="飯塚 勤 Tsutomu Iizuka" userId="350afaef-1690-4eec-b4fd-feb567f0fe7f" providerId="ADAL" clId="{D16ABC97-C7A6-4BF6-B854-2F071594CD10}" dt="2023-12-04T05:46:09.961" v="133" actId="478"/>
            <ac:graphicFrameMkLst>
              <pc:docMk/>
              <pc:sldMasterMk cId="4186810445" sldId="2147483648"/>
              <pc:sldLayoutMk cId="1844594640" sldId="2147483665"/>
              <ac:graphicFrameMk id="11" creationId="{2508FF84-488C-D4FF-3955-36A8BE60AADC}"/>
            </ac:graphicFrameMkLst>
          </pc:graphicFrameChg>
          <pc:graphicFrameChg chg="add del mod">
            <ac:chgData name="飯塚 勤 Tsutomu Iizuka" userId="350afaef-1690-4eec-b4fd-feb567f0fe7f" providerId="ADAL" clId="{D16ABC97-C7A6-4BF6-B854-2F071594CD10}" dt="2023-12-04T05:46:16.738" v="140" actId="478"/>
            <ac:graphicFrameMkLst>
              <pc:docMk/>
              <pc:sldMasterMk cId="4186810445" sldId="2147483648"/>
              <pc:sldLayoutMk cId="1844594640" sldId="2147483665"/>
              <ac:graphicFrameMk id="12" creationId="{F1EA3813-8E82-CF9E-BD3B-4636E98FA06D}"/>
            </ac:graphicFrameMkLst>
          </pc:graphicFrameChg>
          <pc:graphicFrameChg chg="add del mod">
            <ac:chgData name="飯塚 勤 Tsutomu Iizuka" userId="350afaef-1690-4eec-b4fd-feb567f0fe7f" providerId="ADAL" clId="{D16ABC97-C7A6-4BF6-B854-2F071594CD10}" dt="2023-12-04T05:46:14.527" v="138" actId="478"/>
            <ac:graphicFrameMkLst>
              <pc:docMk/>
              <pc:sldMasterMk cId="4186810445" sldId="2147483648"/>
              <pc:sldLayoutMk cId="1844594640" sldId="2147483665"/>
              <ac:graphicFrameMk id="13" creationId="{54D5CBC3-E11D-9F7B-4916-4B991F396277}"/>
            </ac:graphicFrameMkLst>
          </pc:graphicFrameChg>
          <pc:graphicFrameChg chg="add del mod modGraphic">
            <ac:chgData name="飯塚 勤 Tsutomu Iizuka" userId="350afaef-1690-4eec-b4fd-feb567f0fe7f" providerId="ADAL" clId="{D16ABC97-C7A6-4BF6-B854-2F071594CD10}" dt="2023-12-04T05:46:13.221" v="137" actId="478"/>
            <ac:graphicFrameMkLst>
              <pc:docMk/>
              <pc:sldMasterMk cId="4186810445" sldId="2147483648"/>
              <pc:sldLayoutMk cId="1844594640" sldId="2147483665"/>
              <ac:graphicFrameMk id="14" creationId="{92D6B6D0-0D0E-76BB-B0FE-3BA022C17CBC}"/>
            </ac:graphicFrameMkLst>
          </pc:graphicFrame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13" creationId="{DDA42196-0ED3-899F-DACD-371290083B5D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17" creationId="{9B6F431E-CEED-C712-2F0C-5C8AD37621DF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18" creationId="{E7A7871B-9B34-C9A3-2264-87AA825B53BA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19" creationId="{9A243BEA-4822-C6D4-0667-51A531B9C0DD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1" creationId="{84E3B010-B13C-8520-F888-171DB250623E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2" creationId="{586B7245-F8E6-CEFB-CD43-78AF9F1CE552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3" creationId="{3B7F51F7-B162-D155-3517-AD58F8A86224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4" creationId="{89EC7FFF-1493-5367-7FBE-9309EBB0DF40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5" creationId="{69F8F8F6-02F0-6691-24F0-E3472234E973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6" creationId="{FC7226D0-D47E-0DE5-7324-3542BEBBDA7F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7" creationId="{C564617F-EE0B-AD0F-3D4A-AA0B0A5786F6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8" creationId="{DB704F1A-B770-8A10-B398-5EFEEBE21C2D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29" creationId="{4595E25A-9E17-B125-5809-0452B4E64DDC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1" creationId="{02474AD7-346B-D1A2-3805-EEB73CDBEF87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2" creationId="{FC70DD7A-5D7D-E185-CEE2-ED2D49AEF789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3" creationId="{FF23F98E-C67C-6F91-EDF7-8163720D0AB2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5" creationId="{1B249B60-BA3B-D19F-BCF2-A9F9E79BD93A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6" creationId="{78405B52-ED1D-8D65-58C7-84CCE471F4CD}"/>
            </ac:picMkLst>
          </pc:picChg>
          <pc:picChg chg="mod">
            <ac:chgData name="飯塚 勤 Tsutomu Iizuka" userId="350afaef-1690-4eec-b4fd-feb567f0fe7f" providerId="ADAL" clId="{D16ABC97-C7A6-4BF6-B854-2F071594CD10}" dt="2023-12-04T05:55:48.165" v="166"/>
            <ac:picMkLst>
              <pc:docMk/>
              <pc:sldMasterMk cId="4186810445" sldId="2147483648"/>
              <pc:sldLayoutMk cId="1844594640" sldId="2147483665"/>
              <ac:picMk id="38" creationId="{02D684D1-BD29-B8C6-E49B-07FC123774E2}"/>
            </ac:picMkLst>
          </pc:picChg>
          <pc:cxnChg chg="add mod">
            <ac:chgData name="飯塚 勤 Tsutomu Iizuka" userId="350afaef-1690-4eec-b4fd-feb567f0fe7f" providerId="ADAL" clId="{D16ABC97-C7A6-4BF6-B854-2F071594CD10}" dt="2023-12-08T08:30:58.945" v="223" actId="1076"/>
            <ac:cxnSpMkLst>
              <pc:docMk/>
              <pc:sldMasterMk cId="4186810445" sldId="2147483648"/>
              <pc:sldLayoutMk cId="1844594640" sldId="2147483665"/>
              <ac:cxnSpMk id="9" creationId="{7731148A-B9CC-BA4B-12A6-3CA3812C34EA}"/>
            </ac:cxnSpMkLst>
          </pc:cxnChg>
          <pc:cxnChg chg="add mod">
            <ac:chgData name="飯塚 勤 Tsutomu Iizuka" userId="350afaef-1690-4eec-b4fd-feb567f0fe7f" providerId="ADAL" clId="{D16ABC97-C7A6-4BF6-B854-2F071594CD10}" dt="2023-12-04T05:46:00.944" v="130"/>
            <ac:cxnSpMkLst>
              <pc:docMk/>
              <pc:sldMasterMk cId="4186810445" sldId="2147483648"/>
              <pc:sldLayoutMk cId="1844594640" sldId="2147483665"/>
              <ac:cxnSpMk id="15" creationId="{124CFCAF-A973-E8BC-5C27-D3610A7DC802}"/>
            </ac:cxnSpMkLst>
          </pc:cxnChg>
        </pc:sldLayoutChg>
        <pc:sldLayoutChg chg="addSp modSp mod">
          <pc:chgData name="飯塚 勤 Tsutomu Iizuka" userId="350afaef-1690-4eec-b4fd-feb567f0fe7f" providerId="ADAL" clId="{D16ABC97-C7A6-4BF6-B854-2F071594CD10}" dt="2023-12-04T05:54:15.920" v="162" actId="6014"/>
          <pc:sldLayoutMkLst>
            <pc:docMk/>
            <pc:sldMasterMk cId="4186810445" sldId="2147483648"/>
            <pc:sldLayoutMk cId="1329027373" sldId="2147483666"/>
          </pc:sldLayoutMkLst>
          <pc:spChg chg="add 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2" creationId="{C0A4086F-9341-3260-1254-7C396FB981CB}"/>
            </ac:spMkLst>
          </pc:spChg>
          <pc:spChg chg="add 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3" creationId="{9F7922C1-2AE1-97A9-F17C-A21EF5851C5E}"/>
            </ac:spMkLst>
          </pc:spChg>
          <pc:spChg chg="add 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4" creationId="{544CAB5B-C57A-80A0-AEEA-1EBE714ED5FF}"/>
            </ac:spMkLst>
          </pc:spChg>
          <pc:spChg chg="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25" creationId="{1E402CDB-6542-BD2A-5B70-4EA9F7F2213D}"/>
            </ac:spMkLst>
          </pc:spChg>
          <pc:spChg chg="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29" creationId="{0E30224A-47D4-E561-F89E-89C0F8FBA6DB}"/>
            </ac:spMkLst>
          </pc:spChg>
          <pc:spChg chg="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32" creationId="{116CE993-01C5-4895-06ED-2B93846A1DBF}"/>
            </ac:spMkLst>
          </pc:spChg>
          <pc:spChg chg="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34" creationId="{C193906A-9BC9-443B-F8BA-28409C9414B1}"/>
            </ac:spMkLst>
          </pc:spChg>
          <pc:spChg chg="add mod">
            <ac:chgData name="飯塚 勤 Tsutomu Iizuka" userId="350afaef-1690-4eec-b4fd-feb567f0fe7f" providerId="ADAL" clId="{D16ABC97-C7A6-4BF6-B854-2F071594CD10}" dt="2023-12-04T05:43:57.054" v="120"/>
            <ac:spMkLst>
              <pc:docMk/>
              <pc:sldMasterMk cId="4186810445" sldId="2147483648"/>
              <pc:sldLayoutMk cId="1329027373" sldId="2147483666"/>
              <ac:spMk id="35" creationId="{3E7BD3A0-8BE0-0537-55CC-769E3D7EB27D}"/>
            </ac:spMkLst>
          </pc:spChg>
          <pc:grpChg chg="add 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5" creationId="{95F7A9A1-F62E-04CC-154A-014085D88F76}"/>
            </ac:grpSpMkLst>
          </pc:grpChg>
          <pc:grpChg chg="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6" creationId="{0EAC4947-1A54-2A2E-4D60-28649E079218}"/>
            </ac:grpSpMkLst>
          </pc:grpChg>
          <pc:grpChg chg="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8" creationId="{A846DEC0-7112-8B49-D3A9-DCB497A447EC}"/>
            </ac:grpSpMkLst>
          </pc:grpChg>
          <pc:grpChg chg="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9" creationId="{95FE809D-3973-642F-2C62-F246CC3617AE}"/>
            </ac:grpSpMkLst>
          </pc:grpChg>
          <pc:grpChg chg="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11" creationId="{13432CE3-F8C0-99E1-D0AF-32222FD76365}"/>
            </ac:grpSpMkLst>
          </pc:grpChg>
          <pc:grpChg chg="mod">
            <ac:chgData name="飯塚 勤 Tsutomu Iizuka" userId="350afaef-1690-4eec-b4fd-feb567f0fe7f" providerId="ADAL" clId="{D16ABC97-C7A6-4BF6-B854-2F071594CD10}" dt="2023-12-04T05:43:57.054" v="120"/>
            <ac:grpSpMkLst>
              <pc:docMk/>
              <pc:sldMasterMk cId="4186810445" sldId="2147483648"/>
              <pc:sldLayoutMk cId="1329027373" sldId="2147483666"/>
              <ac:grpSpMk id="12" creationId="{0AA7F7E8-C901-364E-9982-A6DD9951B461}"/>
            </ac:grpSpMkLst>
          </pc:grp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0" creationId="{42DCFB76-F03F-AE3C-6FC9-92161FE98029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3" creationId="{D543B817-CD4D-0399-770A-33561C2ECDC8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4" creationId="{16DA0FBC-15F6-CB73-89AD-067EDEF118A4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5" creationId="{0E8EFD22-96B9-4C38-E5B6-9FD7ABDE1F02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6" creationId="{71F8CC70-0343-B50C-16D5-F2EC2B3CA17E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7" creationId="{A00BD1E8-067A-75F5-B441-EAF1A5512791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8" creationId="{2EC151B3-CC91-13A9-B73B-556422EE9436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19" creationId="{39CF36B4-1346-3482-0D7A-DE567E5BE899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0" creationId="{13E93E70-0D9B-A631-5C31-CCC937E96EAD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1" creationId="{CFCE5CAB-2469-9A45-7E60-8B2311C0D973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2" creationId="{A2DA3A26-AA0D-874C-47AC-2240BFF1B858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3" creationId="{99BD60C4-4722-3F10-1285-24349155EC43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4" creationId="{9BC2B26E-6857-C5F2-EA6E-FB44062412F0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6" creationId="{C23238F4-8CEF-6F21-70A2-8555B7301FD4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7" creationId="{EEE69196-2A7A-B957-D2A2-040F1BC170F5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28" creationId="{EF425EF8-6C2F-AD75-D32E-6B2364FCC5DF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30" creationId="{65D74ACD-7887-0D6E-F966-7AB711AE24CA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31" creationId="{249898BF-8D53-F5BC-89A5-530995B89B97}"/>
            </ac:picMkLst>
          </pc:picChg>
          <pc:picChg chg="mod">
            <ac:chgData name="飯塚 勤 Tsutomu Iizuka" userId="350afaef-1690-4eec-b4fd-feb567f0fe7f" providerId="ADAL" clId="{D16ABC97-C7A6-4BF6-B854-2F071594CD10}" dt="2023-12-04T05:43:57.054" v="120"/>
            <ac:picMkLst>
              <pc:docMk/>
              <pc:sldMasterMk cId="4186810445" sldId="2147483648"/>
              <pc:sldLayoutMk cId="1329027373" sldId="2147483666"/>
              <ac:picMk id="33" creationId="{0DF70AF3-2B13-D926-7856-0DC21FA54A18}"/>
            </ac:picMkLst>
          </pc:picChg>
        </pc:sldLayoutChg>
      </pc:sldMasterChg>
      <pc:sldMasterChg chg="del delSldLayout">
        <pc:chgData name="飯塚 勤 Tsutomu Iizuka" userId="350afaef-1690-4eec-b4fd-feb567f0fe7f" providerId="ADAL" clId="{D16ABC97-C7A6-4BF6-B854-2F071594CD10}" dt="2023-12-04T05:39:53.600" v="63" actId="47"/>
        <pc:sldMasterMkLst>
          <pc:docMk/>
          <pc:sldMasterMk cId="3896114887" sldId="2147483660"/>
        </pc:sldMasterMkLst>
        <pc:sldLayoutChg chg="del">
          <pc:chgData name="飯塚 勤 Tsutomu Iizuka" userId="350afaef-1690-4eec-b4fd-feb567f0fe7f" providerId="ADAL" clId="{D16ABC97-C7A6-4BF6-B854-2F071594CD10}" dt="2023-12-04T05:39:53.600" v="63" actId="47"/>
          <pc:sldLayoutMkLst>
            <pc:docMk/>
            <pc:sldMasterMk cId="3896114887" sldId="2147483660"/>
            <pc:sldLayoutMk cId="1823137644" sldId="2147483661"/>
          </pc:sldLayoutMkLst>
        </pc:sldLayoutChg>
      </pc:sldMasterChg>
    </pc:docChg>
  </pc:docChgLst>
  <pc:docChgLst>
    <pc:chgData name="飯塚 勤 Tsutomu Iizuka" userId="S::iizuka.t@dentsu.co.jp::350afaef-1690-4eec-b4fd-feb567f0fe7f" providerId="AD" clId="Web-{1A67ED75-0A6E-815D-8791-4DCE183EB2E9}"/>
    <pc:docChg chg="sldOrd">
      <pc:chgData name="飯塚 勤 Tsutomu Iizuka" userId="S::iizuka.t@dentsu.co.jp::350afaef-1690-4eec-b4fd-feb567f0fe7f" providerId="AD" clId="Web-{1A67ED75-0A6E-815D-8791-4DCE183EB2E9}" dt="2023-12-08T07:55:53.771" v="0"/>
      <pc:docMkLst>
        <pc:docMk/>
      </pc:docMkLst>
      <pc:sldChg chg="ord">
        <pc:chgData name="飯塚 勤 Tsutomu Iizuka" userId="S::iizuka.t@dentsu.co.jp::350afaef-1690-4eec-b4fd-feb567f0fe7f" providerId="AD" clId="Web-{1A67ED75-0A6E-815D-8791-4DCE183EB2E9}" dt="2023-12-08T07:55:53.771" v="0"/>
        <pc:sldMkLst>
          <pc:docMk/>
          <pc:sldMk cId="102019864" sldId="1250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0993-0F22-40E6-B871-66CDD0D9B4E4}" type="datetimeFigureOut">
              <a:rPr kumimoji="1" lang="ja-JP" altLang="en-US" smtClean="0"/>
              <a:t>2023/12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C95B-A064-4667-A699-44B9F17020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443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1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333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3561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709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287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491D229-4E2D-82FE-38EA-7EE1797A9362}"/>
              </a:ext>
            </a:extLst>
          </p:cNvPr>
          <p:cNvSpPr txBox="1"/>
          <p:nvPr userDrawn="1"/>
        </p:nvSpPr>
        <p:spPr>
          <a:xfrm>
            <a:off x="335122" y="371848"/>
            <a:ext cx="7746031" cy="4181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4 </a:t>
            </a: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35DDE8FC-FE92-5C35-2823-7DF9C0C2CC55}"/>
              </a:ext>
            </a:extLst>
          </p:cNvPr>
          <p:cNvGrpSpPr/>
          <p:nvPr userDrawn="1"/>
        </p:nvGrpSpPr>
        <p:grpSpPr>
          <a:xfrm>
            <a:off x="10063529" y="70808"/>
            <a:ext cx="1793355" cy="301040"/>
            <a:chOff x="513270" y="5229997"/>
            <a:chExt cx="4380513" cy="735330"/>
          </a:xfrm>
        </p:grpSpPr>
        <p:grpSp>
          <p:nvGrpSpPr>
            <p:cNvPr id="4" name="object 59">
              <a:extLst>
                <a:ext uri="{FF2B5EF4-FFF2-40B4-BE49-F238E27FC236}">
                  <a16:creationId xmlns:a16="http://schemas.microsoft.com/office/drawing/2014/main" id="{746E7195-CE76-E2C2-59B9-8F14FA282C41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31" name="object 60">
                <a:extLst>
                  <a:ext uri="{FF2B5EF4-FFF2-40B4-BE49-F238E27FC236}">
                    <a16:creationId xmlns:a16="http://schemas.microsoft.com/office/drawing/2014/main" id="{B57D66DF-AED2-E8E5-0BE5-3A020E6055E1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32" name="object 61">
                <a:extLst>
                  <a:ext uri="{FF2B5EF4-FFF2-40B4-BE49-F238E27FC236}">
                    <a16:creationId xmlns:a16="http://schemas.microsoft.com/office/drawing/2014/main" id="{4AB66F6B-8C2F-0588-2D54-0A96DE20E037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23" y="413548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040000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5" name="object 62">
              <a:extLst>
                <a:ext uri="{FF2B5EF4-FFF2-40B4-BE49-F238E27FC236}">
                  <a16:creationId xmlns:a16="http://schemas.microsoft.com/office/drawing/2014/main" id="{3B802EC0-826D-CA59-4AFA-957182DFE05A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5" name="object 63">
                <a:extLst>
                  <a:ext uri="{FF2B5EF4-FFF2-40B4-BE49-F238E27FC236}">
                    <a16:creationId xmlns:a16="http://schemas.microsoft.com/office/drawing/2014/main" id="{D783BCAD-6B9E-389A-0AD1-D95FF2950D58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6" name="object 64">
                <a:extLst>
                  <a:ext uri="{FF2B5EF4-FFF2-40B4-BE49-F238E27FC236}">
                    <a16:creationId xmlns:a16="http://schemas.microsoft.com/office/drawing/2014/main" id="{73CFDEF9-CFAC-2C0F-E9D4-66D7911B9055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7" name="object 65">
                <a:extLst>
                  <a:ext uri="{FF2B5EF4-FFF2-40B4-BE49-F238E27FC236}">
                    <a16:creationId xmlns:a16="http://schemas.microsoft.com/office/drawing/2014/main" id="{9E1348C9-DE66-A3E7-195F-85E95B4D21EF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8" name="object 66">
                <a:extLst>
                  <a:ext uri="{FF2B5EF4-FFF2-40B4-BE49-F238E27FC236}">
                    <a16:creationId xmlns:a16="http://schemas.microsoft.com/office/drawing/2014/main" id="{8DF4B516-6F24-7E50-C3C6-220EB8585E61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29" name="object 67">
                <a:extLst>
                  <a:ext uri="{FF2B5EF4-FFF2-40B4-BE49-F238E27FC236}">
                    <a16:creationId xmlns:a16="http://schemas.microsoft.com/office/drawing/2014/main" id="{992C65BC-8D69-1EB1-0F00-B5BC973FBAB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0" name="object 68">
                <a:extLst>
                  <a:ext uri="{FF2B5EF4-FFF2-40B4-BE49-F238E27FC236}">
                    <a16:creationId xmlns:a16="http://schemas.microsoft.com/office/drawing/2014/main" id="{05690FE4-35BA-F32F-ECA0-7D34ADF1F28B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6" name="object 69">
              <a:extLst>
                <a:ext uri="{FF2B5EF4-FFF2-40B4-BE49-F238E27FC236}">
                  <a16:creationId xmlns:a16="http://schemas.microsoft.com/office/drawing/2014/main" id="{0C9CB4C3-57F2-89C0-12AD-0D3009174976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7" name="object 70">
                <a:extLst>
                  <a:ext uri="{FF2B5EF4-FFF2-40B4-BE49-F238E27FC236}">
                    <a16:creationId xmlns:a16="http://schemas.microsoft.com/office/drawing/2014/main" id="{7BBCFDEA-5149-D746-11DA-32E2BBE27BB3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18" name="object 71">
                <a:extLst>
                  <a:ext uri="{FF2B5EF4-FFF2-40B4-BE49-F238E27FC236}">
                    <a16:creationId xmlns:a16="http://schemas.microsoft.com/office/drawing/2014/main" id="{2B7A73A5-43E7-5489-3C31-7310460BD171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19" name="object 72">
                <a:extLst>
                  <a:ext uri="{FF2B5EF4-FFF2-40B4-BE49-F238E27FC236}">
                    <a16:creationId xmlns:a16="http://schemas.microsoft.com/office/drawing/2014/main" id="{DFCB33B8-E77B-0350-95B8-FB50435DCC58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0" name="object 73">
                <a:extLst>
                  <a:ext uri="{FF2B5EF4-FFF2-40B4-BE49-F238E27FC236}">
                    <a16:creationId xmlns:a16="http://schemas.microsoft.com/office/drawing/2014/main" id="{BE839CC3-7094-AF78-0138-C04ABE532882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1" name="object 74">
                <a:extLst>
                  <a:ext uri="{FF2B5EF4-FFF2-40B4-BE49-F238E27FC236}">
                    <a16:creationId xmlns:a16="http://schemas.microsoft.com/office/drawing/2014/main" id="{3FA2ADF7-6699-85F7-5F7A-6B89E5CFAFD2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2" name="object 75">
                <a:extLst>
                  <a:ext uri="{FF2B5EF4-FFF2-40B4-BE49-F238E27FC236}">
                    <a16:creationId xmlns:a16="http://schemas.microsoft.com/office/drawing/2014/main" id="{82ED3B42-01BA-BD0F-3017-BEEC04AE8F99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3" name="object 76">
                <a:extLst>
                  <a:ext uri="{FF2B5EF4-FFF2-40B4-BE49-F238E27FC236}">
                    <a16:creationId xmlns:a16="http://schemas.microsoft.com/office/drawing/2014/main" id="{33F11962-249E-7E9A-B7DB-823DE1AAE55A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4" name="object 77">
                <a:extLst>
                  <a:ext uri="{FF2B5EF4-FFF2-40B4-BE49-F238E27FC236}">
                    <a16:creationId xmlns:a16="http://schemas.microsoft.com/office/drawing/2014/main" id="{170E6710-0225-9737-E515-49140C032DB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8" name="object 78">
              <a:extLst>
                <a:ext uri="{FF2B5EF4-FFF2-40B4-BE49-F238E27FC236}">
                  <a16:creationId xmlns:a16="http://schemas.microsoft.com/office/drawing/2014/main" id="{A4929BBA-578B-7D4C-4494-1FAEB170A5C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9" name="object 79">
              <a:extLst>
                <a:ext uri="{FF2B5EF4-FFF2-40B4-BE49-F238E27FC236}">
                  <a16:creationId xmlns:a16="http://schemas.microsoft.com/office/drawing/2014/main" id="{DDB9433F-C046-4F2B-ED42-A3C122680347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5" name="object 80">
                <a:extLst>
                  <a:ext uri="{FF2B5EF4-FFF2-40B4-BE49-F238E27FC236}">
                    <a16:creationId xmlns:a16="http://schemas.microsoft.com/office/drawing/2014/main" id="{946EA4B6-4F4F-94A1-2B59-E62B3898FEC2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6" name="object 81">
                <a:extLst>
                  <a:ext uri="{FF2B5EF4-FFF2-40B4-BE49-F238E27FC236}">
                    <a16:creationId xmlns:a16="http://schemas.microsoft.com/office/drawing/2014/main" id="{733CAB0F-E434-AC31-56A6-80E1A27C4FE5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grpSp>
          <p:nvGrpSpPr>
            <p:cNvPr id="10" name="object 82">
              <a:extLst>
                <a:ext uri="{FF2B5EF4-FFF2-40B4-BE49-F238E27FC236}">
                  <a16:creationId xmlns:a16="http://schemas.microsoft.com/office/drawing/2014/main" id="{C9C68A0D-5BE3-8BC4-07A7-18CD162D58ED}"/>
                </a:ext>
              </a:extLst>
            </p:cNvPr>
            <p:cNvGrpSpPr/>
            <p:nvPr/>
          </p:nvGrpSpPr>
          <p:grpSpPr>
            <a:xfrm>
              <a:off x="1879152" y="5497402"/>
              <a:ext cx="735965" cy="201295"/>
              <a:chOff x="1879152" y="5497402"/>
              <a:chExt cx="735965" cy="201295"/>
            </a:xfrm>
          </p:grpSpPr>
          <p:pic>
            <p:nvPicPr>
              <p:cNvPr id="11" name="object 83">
                <a:extLst>
                  <a:ext uri="{FF2B5EF4-FFF2-40B4-BE49-F238E27FC236}">
                    <a16:creationId xmlns:a16="http://schemas.microsoft.com/office/drawing/2014/main" id="{76A563AA-423D-1A5E-831E-D7CF111C4104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2056094" y="5497541"/>
                <a:ext cx="200939" cy="200964"/>
              </a:xfrm>
              <a:prstGeom prst="rect">
                <a:avLst/>
              </a:prstGeom>
            </p:spPr>
          </p:pic>
          <p:pic>
            <p:nvPicPr>
              <p:cNvPr id="12" name="object 84">
                <a:extLst>
                  <a:ext uri="{FF2B5EF4-FFF2-40B4-BE49-F238E27FC236}">
                    <a16:creationId xmlns:a16="http://schemas.microsoft.com/office/drawing/2014/main" id="{94A89E5C-522A-9C7F-6C0E-3C5A3AACBD97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29339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3" name="object 85">
                <a:extLst>
                  <a:ext uri="{FF2B5EF4-FFF2-40B4-BE49-F238E27FC236}">
                    <a16:creationId xmlns:a16="http://schemas.microsoft.com/office/drawing/2014/main" id="{6E6A72AE-CADD-4745-5134-F4AB88625927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87915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4" name="object 86">
                <a:extLst>
                  <a:ext uri="{FF2B5EF4-FFF2-40B4-BE49-F238E27FC236}">
                    <a16:creationId xmlns:a16="http://schemas.microsoft.com/office/drawing/2014/main" id="{DE7B9735-1DE8-CBAC-4D3E-B27517852B78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457645" y="5498522"/>
                <a:ext cx="156959" cy="197789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210357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A0672DC-79FB-C910-BDD1-02DCB38A2D2C}"/>
              </a:ext>
            </a:extLst>
          </p:cNvPr>
          <p:cNvGrpSpPr/>
          <p:nvPr userDrawn="1"/>
        </p:nvGrpSpPr>
        <p:grpSpPr>
          <a:xfrm>
            <a:off x="264294" y="882837"/>
            <a:ext cx="11663412" cy="5612828"/>
            <a:chOff x="623522" y="882837"/>
            <a:chExt cx="11663412" cy="5612828"/>
          </a:xfrm>
        </p:grpSpPr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CFA0211F-4CFB-F40F-2DDC-86297C1145B0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1E8C9CF-A1F7-1B93-6162-C8ECCF3D2EDE}"/>
                </a:ext>
              </a:extLst>
            </p:cNvPr>
            <p:cNvSpPr/>
            <p:nvPr/>
          </p:nvSpPr>
          <p:spPr>
            <a:xfrm>
              <a:off x="627366" y="882837"/>
              <a:ext cx="11655724" cy="26968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100" b="1" spc="300" dirty="0"/>
                <a:t>取組みのポイント</a:t>
              </a: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3ED68E8-91C0-F95F-4C90-FA3A8DF8CFD4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43EBAE1-D6DD-B23E-8C30-AC7D124424C6}"/>
              </a:ext>
            </a:extLst>
          </p:cNvPr>
          <p:cNvSpPr txBox="1"/>
          <p:nvPr userDrawn="1"/>
        </p:nvSpPr>
        <p:spPr>
          <a:xfrm>
            <a:off x="298994" y="362331"/>
            <a:ext cx="5912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4 </a:t>
            </a: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0250DCF-AAF8-69A2-668F-A16E2B8D9613}"/>
              </a:ext>
            </a:extLst>
          </p:cNvPr>
          <p:cNvSpPr txBox="1"/>
          <p:nvPr userDrawn="1"/>
        </p:nvSpPr>
        <p:spPr>
          <a:xfrm>
            <a:off x="2603090" y="6534062"/>
            <a:ext cx="928371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18">
              <a:defRPr/>
            </a:pPr>
            <a:r>
              <a:rPr lang="ja-JP" altLang="en-US" sz="800" b="1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●上記４項目の文章量は自由に調整して記載ください。ただし、必ず破線（　　　）内に収まるようにしてください。　●文字サイズは</a:t>
            </a:r>
            <a:r>
              <a:rPr lang="en-US" altLang="ja-JP" sz="800" b="1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10</a:t>
            </a:r>
            <a:r>
              <a:rPr lang="ja-JP" altLang="en-US" sz="800" b="1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以上でお願いします。　●文字色の変更等は可能です。</a:t>
            </a:r>
            <a:endParaRPr lang="en-US" altLang="ja-JP" sz="800" b="1" dirty="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24CFCAF-A973-E8BC-5C27-D3610A7DC802}"/>
              </a:ext>
            </a:extLst>
          </p:cNvPr>
          <p:cNvCxnSpPr>
            <a:stCxn id="4" idx="2"/>
            <a:endCxn id="3" idx="2"/>
          </p:cNvCxnSpPr>
          <p:nvPr userDrawn="1"/>
        </p:nvCxnSpPr>
        <p:spPr>
          <a:xfrm>
            <a:off x="6096000" y="1152525"/>
            <a:ext cx="0" cy="53431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6BCFDE92-D259-ABE9-0090-83916CBF0C8A}"/>
              </a:ext>
            </a:extLst>
          </p:cNvPr>
          <p:cNvSpPr txBox="1"/>
          <p:nvPr userDrawn="1"/>
        </p:nvSpPr>
        <p:spPr>
          <a:xfrm>
            <a:off x="9871381" y="190699"/>
            <a:ext cx="2052481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4" indent="-171454" defTabSz="914418">
              <a:spcAft>
                <a:spcPts val="600"/>
              </a:spcAft>
              <a:buFont typeface="游ゴシック" panose="020B0400000000000000" pitchFamily="50" charset="-128"/>
              <a:buChar char="※"/>
              <a:defRPr/>
            </a:pPr>
            <a:r>
              <a:rPr lang="ja-JP" altLang="en-US" sz="800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希望領域は複数選択いただけます</a:t>
            </a:r>
            <a:endParaRPr lang="en-US" altLang="ja-JP" sz="800" dirty="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  <a:p>
            <a:pPr marL="171454" indent="-171454" defTabSz="914418">
              <a:spcAft>
                <a:spcPts val="600"/>
              </a:spcAft>
              <a:buFont typeface="游ゴシック" panose="020B0400000000000000" pitchFamily="50" charset="-128"/>
              <a:buChar char="※"/>
              <a:defRPr/>
            </a:pPr>
            <a:r>
              <a:rPr lang="ja-JP" altLang="en-US" sz="800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事務局の方で適切な部門へ変更する</a:t>
            </a:r>
            <a:br>
              <a:rPr lang="en-US" altLang="ja-JP" sz="800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</a:br>
            <a:r>
              <a:rPr lang="ja-JP" altLang="en-US" sz="800" dirty="0">
                <a:solidFill>
                  <a:prstClr val="black"/>
                </a:solidFill>
                <a:latin typeface="游ゴシック" panose="020F0502020204030204"/>
                <a:ea typeface="游ゴシック" panose="020B0400000000000000" pitchFamily="50" charset="-128"/>
              </a:rPr>
              <a:t>場合がございます</a:t>
            </a:r>
            <a:endParaRPr lang="en-US" altLang="ja-JP" sz="800" dirty="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7731148A-B9CC-BA4B-12A6-3CA3812C34EA}"/>
              </a:ext>
            </a:extLst>
          </p:cNvPr>
          <p:cNvCxnSpPr>
            <a:cxnSpLocks/>
          </p:cNvCxnSpPr>
          <p:nvPr userDrawn="1"/>
        </p:nvCxnSpPr>
        <p:spPr>
          <a:xfrm>
            <a:off x="6432550" y="6631719"/>
            <a:ext cx="222692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1844594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0A4086F-9341-3260-1254-7C396FB981CB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①　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F7922C1-2AE1-97A9-F17C-A21EF5851C5E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544CAB5B-C57A-80A0-AEEA-1EBE714ED5FF}"/>
              </a:ext>
            </a:extLst>
          </p:cNvPr>
          <p:cNvSpPr txBox="1"/>
          <p:nvPr userDrawn="1"/>
        </p:nvSpPr>
        <p:spPr>
          <a:xfrm>
            <a:off x="251665" y="94751"/>
            <a:ext cx="5141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4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95F7A9A1-F62E-04CC-154A-014085D88F76}"/>
              </a:ext>
            </a:extLst>
          </p:cNvPr>
          <p:cNvGrpSpPr/>
          <p:nvPr userDrawn="1"/>
        </p:nvGrpSpPr>
        <p:grpSpPr>
          <a:xfrm>
            <a:off x="10122799" y="111307"/>
            <a:ext cx="1793355" cy="301040"/>
            <a:chOff x="513270" y="5229997"/>
            <a:chExt cx="4380513" cy="735330"/>
          </a:xfrm>
        </p:grpSpPr>
        <p:grpSp>
          <p:nvGrpSpPr>
            <p:cNvPr id="6" name="object 59">
              <a:extLst>
                <a:ext uri="{FF2B5EF4-FFF2-40B4-BE49-F238E27FC236}">
                  <a16:creationId xmlns:a16="http://schemas.microsoft.com/office/drawing/2014/main" id="{0EAC4947-1A54-2A2E-4D60-28649E079218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33" name="object 60">
                <a:extLst>
                  <a:ext uri="{FF2B5EF4-FFF2-40B4-BE49-F238E27FC236}">
                    <a16:creationId xmlns:a16="http://schemas.microsoft.com/office/drawing/2014/main" id="{0DF70AF3-2B13-D926-7856-0DC21FA54A18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34" name="object 61">
                <a:extLst>
                  <a:ext uri="{FF2B5EF4-FFF2-40B4-BE49-F238E27FC236}">
                    <a16:creationId xmlns:a16="http://schemas.microsoft.com/office/drawing/2014/main" id="{C193906A-9BC9-443B-F8BA-28409C9414B1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23" y="413548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040000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8" name="object 62">
              <a:extLst>
                <a:ext uri="{FF2B5EF4-FFF2-40B4-BE49-F238E27FC236}">
                  <a16:creationId xmlns:a16="http://schemas.microsoft.com/office/drawing/2014/main" id="{A846DEC0-7112-8B49-D3A9-DCB497A447EC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7" name="object 63">
                <a:extLst>
                  <a:ext uri="{FF2B5EF4-FFF2-40B4-BE49-F238E27FC236}">
                    <a16:creationId xmlns:a16="http://schemas.microsoft.com/office/drawing/2014/main" id="{EEE69196-2A7A-B957-D2A2-040F1BC170F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8" name="object 64">
                <a:extLst>
                  <a:ext uri="{FF2B5EF4-FFF2-40B4-BE49-F238E27FC236}">
                    <a16:creationId xmlns:a16="http://schemas.microsoft.com/office/drawing/2014/main" id="{EF425EF8-6C2F-AD75-D32E-6B2364FCC5DF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9" name="object 65">
                <a:extLst>
                  <a:ext uri="{FF2B5EF4-FFF2-40B4-BE49-F238E27FC236}">
                    <a16:creationId xmlns:a16="http://schemas.microsoft.com/office/drawing/2014/main" id="{0E30224A-47D4-E561-F89E-89C0F8FBA6DB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30" name="object 66">
                <a:extLst>
                  <a:ext uri="{FF2B5EF4-FFF2-40B4-BE49-F238E27FC236}">
                    <a16:creationId xmlns:a16="http://schemas.microsoft.com/office/drawing/2014/main" id="{65D74ACD-7887-0D6E-F966-7AB711AE24C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31" name="object 67">
                <a:extLst>
                  <a:ext uri="{FF2B5EF4-FFF2-40B4-BE49-F238E27FC236}">
                    <a16:creationId xmlns:a16="http://schemas.microsoft.com/office/drawing/2014/main" id="{249898BF-8D53-F5BC-89A5-530995B89B97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2" name="object 68">
                <a:extLst>
                  <a:ext uri="{FF2B5EF4-FFF2-40B4-BE49-F238E27FC236}">
                    <a16:creationId xmlns:a16="http://schemas.microsoft.com/office/drawing/2014/main" id="{116CE993-01C5-4895-06ED-2B93846A1DBF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9" name="object 69">
              <a:extLst>
                <a:ext uri="{FF2B5EF4-FFF2-40B4-BE49-F238E27FC236}">
                  <a16:creationId xmlns:a16="http://schemas.microsoft.com/office/drawing/2014/main" id="{95FE809D-3973-642F-2C62-F246CC3617AE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9" name="object 70">
                <a:extLst>
                  <a:ext uri="{FF2B5EF4-FFF2-40B4-BE49-F238E27FC236}">
                    <a16:creationId xmlns:a16="http://schemas.microsoft.com/office/drawing/2014/main" id="{39CF36B4-1346-3482-0D7A-DE567E5BE899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20" name="object 71">
                <a:extLst>
                  <a:ext uri="{FF2B5EF4-FFF2-40B4-BE49-F238E27FC236}">
                    <a16:creationId xmlns:a16="http://schemas.microsoft.com/office/drawing/2014/main" id="{13E93E70-0D9B-A631-5C31-CCC937E96EAD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21" name="object 72">
                <a:extLst>
                  <a:ext uri="{FF2B5EF4-FFF2-40B4-BE49-F238E27FC236}">
                    <a16:creationId xmlns:a16="http://schemas.microsoft.com/office/drawing/2014/main" id="{CFCE5CAB-2469-9A45-7E60-8B2311C0D973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2" name="object 73">
                <a:extLst>
                  <a:ext uri="{FF2B5EF4-FFF2-40B4-BE49-F238E27FC236}">
                    <a16:creationId xmlns:a16="http://schemas.microsoft.com/office/drawing/2014/main" id="{A2DA3A26-AA0D-874C-47AC-2240BFF1B858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3" name="object 74">
                <a:extLst>
                  <a:ext uri="{FF2B5EF4-FFF2-40B4-BE49-F238E27FC236}">
                    <a16:creationId xmlns:a16="http://schemas.microsoft.com/office/drawing/2014/main" id="{99BD60C4-4722-3F10-1285-24349155EC4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4" name="object 75">
                <a:extLst>
                  <a:ext uri="{FF2B5EF4-FFF2-40B4-BE49-F238E27FC236}">
                    <a16:creationId xmlns:a16="http://schemas.microsoft.com/office/drawing/2014/main" id="{9BC2B26E-6857-C5F2-EA6E-FB44062412F0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5" name="object 76">
                <a:extLst>
                  <a:ext uri="{FF2B5EF4-FFF2-40B4-BE49-F238E27FC236}">
                    <a16:creationId xmlns:a16="http://schemas.microsoft.com/office/drawing/2014/main" id="{1E402CDB-6542-BD2A-5B70-4EA9F7F2213D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6" name="object 77">
                <a:extLst>
                  <a:ext uri="{FF2B5EF4-FFF2-40B4-BE49-F238E27FC236}">
                    <a16:creationId xmlns:a16="http://schemas.microsoft.com/office/drawing/2014/main" id="{C23238F4-8CEF-6F21-70A2-8555B7301FD4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10" name="object 78">
              <a:extLst>
                <a:ext uri="{FF2B5EF4-FFF2-40B4-BE49-F238E27FC236}">
                  <a16:creationId xmlns:a16="http://schemas.microsoft.com/office/drawing/2014/main" id="{42DCFB76-F03F-AE3C-6FC9-92161FE98029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11" name="object 79">
              <a:extLst>
                <a:ext uri="{FF2B5EF4-FFF2-40B4-BE49-F238E27FC236}">
                  <a16:creationId xmlns:a16="http://schemas.microsoft.com/office/drawing/2014/main" id="{13432CE3-F8C0-99E1-D0AF-32222FD76365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7" name="object 80">
                <a:extLst>
                  <a:ext uri="{FF2B5EF4-FFF2-40B4-BE49-F238E27FC236}">
                    <a16:creationId xmlns:a16="http://schemas.microsoft.com/office/drawing/2014/main" id="{A00BD1E8-067A-75F5-B441-EAF1A5512791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8" name="object 81">
                <a:extLst>
                  <a:ext uri="{FF2B5EF4-FFF2-40B4-BE49-F238E27FC236}">
                    <a16:creationId xmlns:a16="http://schemas.microsoft.com/office/drawing/2014/main" id="{2EC151B3-CC91-13A9-B73B-556422EE9436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grpSp>
          <p:nvGrpSpPr>
            <p:cNvPr id="12" name="object 82">
              <a:extLst>
                <a:ext uri="{FF2B5EF4-FFF2-40B4-BE49-F238E27FC236}">
                  <a16:creationId xmlns:a16="http://schemas.microsoft.com/office/drawing/2014/main" id="{0AA7F7E8-C901-364E-9982-A6DD9951B461}"/>
                </a:ext>
              </a:extLst>
            </p:cNvPr>
            <p:cNvGrpSpPr/>
            <p:nvPr/>
          </p:nvGrpSpPr>
          <p:grpSpPr>
            <a:xfrm>
              <a:off x="1879152" y="5497402"/>
              <a:ext cx="735965" cy="201295"/>
              <a:chOff x="1879152" y="5497402"/>
              <a:chExt cx="735965" cy="201295"/>
            </a:xfrm>
          </p:grpSpPr>
          <p:pic>
            <p:nvPicPr>
              <p:cNvPr id="13" name="object 83">
                <a:extLst>
                  <a:ext uri="{FF2B5EF4-FFF2-40B4-BE49-F238E27FC236}">
                    <a16:creationId xmlns:a16="http://schemas.microsoft.com/office/drawing/2014/main" id="{D543B817-CD4D-0399-770A-33561C2ECDC8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2056094" y="5497541"/>
                <a:ext cx="200939" cy="200964"/>
              </a:xfrm>
              <a:prstGeom prst="rect">
                <a:avLst/>
              </a:prstGeom>
            </p:spPr>
          </p:pic>
          <p:pic>
            <p:nvPicPr>
              <p:cNvPr id="14" name="object 84">
                <a:extLst>
                  <a:ext uri="{FF2B5EF4-FFF2-40B4-BE49-F238E27FC236}">
                    <a16:creationId xmlns:a16="http://schemas.microsoft.com/office/drawing/2014/main" id="{16DA0FBC-15F6-CB73-89AD-067EDEF118A4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29339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5" name="object 85">
                <a:extLst>
                  <a:ext uri="{FF2B5EF4-FFF2-40B4-BE49-F238E27FC236}">
                    <a16:creationId xmlns:a16="http://schemas.microsoft.com/office/drawing/2014/main" id="{0E8EFD22-96B9-4C38-E5B6-9FD7ABDE1F02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87915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6" name="object 86">
                <a:extLst>
                  <a:ext uri="{FF2B5EF4-FFF2-40B4-BE49-F238E27FC236}">
                    <a16:creationId xmlns:a16="http://schemas.microsoft.com/office/drawing/2014/main" id="{71F8CC70-0343-B50C-16D5-F2EC2B3CA17E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457645" y="5498522"/>
                <a:ext cx="156959" cy="197789"/>
              </a:xfrm>
              <a:prstGeom prst="rect">
                <a:avLst/>
              </a:prstGeom>
            </p:spPr>
          </p:pic>
        </p:grpSp>
      </p:grp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3E7BD3A0-8BE0-0537-55CC-769E3D7EB27D}"/>
              </a:ext>
            </a:extLst>
          </p:cNvPr>
          <p:cNvSpPr txBox="1"/>
          <p:nvPr userDrawn="1"/>
        </p:nvSpPr>
        <p:spPr>
          <a:xfrm>
            <a:off x="6247345" y="467851"/>
            <a:ext cx="56688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パワーポイントスライド画像を文字がつぶれない範囲で１枚のシートに複数枚貼り付けて頂いても問題ありません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取組みの全体像や施策のアウトプット、成果の分かる図表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グラフ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画像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写真などを添付ください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29027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2F8B3896-CBE4-CE7D-122B-E21B21A9E3E9}"/>
              </a:ext>
            </a:extLst>
          </p:cNvPr>
          <p:cNvSpPr txBox="1"/>
          <p:nvPr userDrawn="1"/>
        </p:nvSpPr>
        <p:spPr>
          <a:xfrm>
            <a:off x="251665" y="94751"/>
            <a:ext cx="5141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4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BCE73A8-DED3-40A5-023E-57D2C804BD09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②　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E373648-3B9A-A51C-CB2B-6505DB9191A1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3740EA9F-C576-68B9-81FC-E5AC32454464}"/>
              </a:ext>
            </a:extLst>
          </p:cNvPr>
          <p:cNvGrpSpPr/>
          <p:nvPr userDrawn="1"/>
        </p:nvGrpSpPr>
        <p:grpSpPr>
          <a:xfrm>
            <a:off x="10122799" y="111307"/>
            <a:ext cx="1793355" cy="301040"/>
            <a:chOff x="513270" y="5229997"/>
            <a:chExt cx="4380513" cy="735330"/>
          </a:xfrm>
        </p:grpSpPr>
        <p:grpSp>
          <p:nvGrpSpPr>
            <p:cNvPr id="6" name="object 59">
              <a:extLst>
                <a:ext uri="{FF2B5EF4-FFF2-40B4-BE49-F238E27FC236}">
                  <a16:creationId xmlns:a16="http://schemas.microsoft.com/office/drawing/2014/main" id="{887F5438-896E-669A-4C67-F071D5ECA439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33" name="object 60">
                <a:extLst>
                  <a:ext uri="{FF2B5EF4-FFF2-40B4-BE49-F238E27FC236}">
                    <a16:creationId xmlns:a16="http://schemas.microsoft.com/office/drawing/2014/main" id="{18D59F11-ED9C-D867-9B0E-F95695987DFB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34" name="object 61">
                <a:extLst>
                  <a:ext uri="{FF2B5EF4-FFF2-40B4-BE49-F238E27FC236}">
                    <a16:creationId xmlns:a16="http://schemas.microsoft.com/office/drawing/2014/main" id="{C2852787-B542-80DB-FDDB-F3C706CA2A65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23" y="413548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040000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8" name="object 62">
              <a:extLst>
                <a:ext uri="{FF2B5EF4-FFF2-40B4-BE49-F238E27FC236}">
                  <a16:creationId xmlns:a16="http://schemas.microsoft.com/office/drawing/2014/main" id="{C288D4AF-69AD-F9B2-1BAC-3489C05C2019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7" name="object 63">
                <a:extLst>
                  <a:ext uri="{FF2B5EF4-FFF2-40B4-BE49-F238E27FC236}">
                    <a16:creationId xmlns:a16="http://schemas.microsoft.com/office/drawing/2014/main" id="{D16D19C0-9D42-ECDE-B375-9648D0F9DB96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8" name="object 64">
                <a:extLst>
                  <a:ext uri="{FF2B5EF4-FFF2-40B4-BE49-F238E27FC236}">
                    <a16:creationId xmlns:a16="http://schemas.microsoft.com/office/drawing/2014/main" id="{15ECC6A7-59E8-16A0-F91E-334E7FC6A94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9" name="object 65">
                <a:extLst>
                  <a:ext uri="{FF2B5EF4-FFF2-40B4-BE49-F238E27FC236}">
                    <a16:creationId xmlns:a16="http://schemas.microsoft.com/office/drawing/2014/main" id="{729B9DA4-E395-5675-1A0D-75D7C88B3229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30" name="object 66">
                <a:extLst>
                  <a:ext uri="{FF2B5EF4-FFF2-40B4-BE49-F238E27FC236}">
                    <a16:creationId xmlns:a16="http://schemas.microsoft.com/office/drawing/2014/main" id="{CC39A9D1-4EFF-7C1E-1E42-7718EB41EF37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31" name="object 67">
                <a:extLst>
                  <a:ext uri="{FF2B5EF4-FFF2-40B4-BE49-F238E27FC236}">
                    <a16:creationId xmlns:a16="http://schemas.microsoft.com/office/drawing/2014/main" id="{00ECB532-4F76-A526-0900-9516C717AA7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2" name="object 68">
                <a:extLst>
                  <a:ext uri="{FF2B5EF4-FFF2-40B4-BE49-F238E27FC236}">
                    <a16:creationId xmlns:a16="http://schemas.microsoft.com/office/drawing/2014/main" id="{5C0B1F72-5272-399A-8724-23FBE7AC098A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9" name="object 69">
              <a:extLst>
                <a:ext uri="{FF2B5EF4-FFF2-40B4-BE49-F238E27FC236}">
                  <a16:creationId xmlns:a16="http://schemas.microsoft.com/office/drawing/2014/main" id="{0EB4CCBE-645A-FF00-B451-B243CA229F2E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9" name="object 70">
                <a:extLst>
                  <a:ext uri="{FF2B5EF4-FFF2-40B4-BE49-F238E27FC236}">
                    <a16:creationId xmlns:a16="http://schemas.microsoft.com/office/drawing/2014/main" id="{A6D70BED-4C7C-8BF3-EF6B-6A55FFB35F0A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20" name="object 71">
                <a:extLst>
                  <a:ext uri="{FF2B5EF4-FFF2-40B4-BE49-F238E27FC236}">
                    <a16:creationId xmlns:a16="http://schemas.microsoft.com/office/drawing/2014/main" id="{B0FFE147-F5D7-F307-1B05-A49EF9945F53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21" name="object 72">
                <a:extLst>
                  <a:ext uri="{FF2B5EF4-FFF2-40B4-BE49-F238E27FC236}">
                    <a16:creationId xmlns:a16="http://schemas.microsoft.com/office/drawing/2014/main" id="{EE4C7F69-5E0D-FD8E-9AAD-28ADDDC0F692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2" name="object 73">
                <a:extLst>
                  <a:ext uri="{FF2B5EF4-FFF2-40B4-BE49-F238E27FC236}">
                    <a16:creationId xmlns:a16="http://schemas.microsoft.com/office/drawing/2014/main" id="{124CD99F-D663-7BCB-3521-7C1727F11E3A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3" name="object 74">
                <a:extLst>
                  <a:ext uri="{FF2B5EF4-FFF2-40B4-BE49-F238E27FC236}">
                    <a16:creationId xmlns:a16="http://schemas.microsoft.com/office/drawing/2014/main" id="{8C09EDEB-659E-6BFD-9229-A5A041AE6602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4" name="object 75">
                <a:extLst>
                  <a:ext uri="{FF2B5EF4-FFF2-40B4-BE49-F238E27FC236}">
                    <a16:creationId xmlns:a16="http://schemas.microsoft.com/office/drawing/2014/main" id="{82F35816-CAD0-3AA3-583C-0F2879882D12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5" name="object 76">
                <a:extLst>
                  <a:ext uri="{FF2B5EF4-FFF2-40B4-BE49-F238E27FC236}">
                    <a16:creationId xmlns:a16="http://schemas.microsoft.com/office/drawing/2014/main" id="{67A51DC6-E574-CBBF-843C-1A0F78CA86FF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6" name="object 77">
                <a:extLst>
                  <a:ext uri="{FF2B5EF4-FFF2-40B4-BE49-F238E27FC236}">
                    <a16:creationId xmlns:a16="http://schemas.microsoft.com/office/drawing/2014/main" id="{53A827E2-F00E-1442-37CC-EF0999DF4EE1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10" name="object 78">
              <a:extLst>
                <a:ext uri="{FF2B5EF4-FFF2-40B4-BE49-F238E27FC236}">
                  <a16:creationId xmlns:a16="http://schemas.microsoft.com/office/drawing/2014/main" id="{8A4A3291-CC56-1009-2F33-C3B81A8DCDDF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11" name="object 79">
              <a:extLst>
                <a:ext uri="{FF2B5EF4-FFF2-40B4-BE49-F238E27FC236}">
                  <a16:creationId xmlns:a16="http://schemas.microsoft.com/office/drawing/2014/main" id="{7978F52B-1D10-0825-23B9-09EFE76D6525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7" name="object 80">
                <a:extLst>
                  <a:ext uri="{FF2B5EF4-FFF2-40B4-BE49-F238E27FC236}">
                    <a16:creationId xmlns:a16="http://schemas.microsoft.com/office/drawing/2014/main" id="{D2D7D2EC-13FA-891E-8FCD-99B1C108C8F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8" name="object 81">
                <a:extLst>
                  <a:ext uri="{FF2B5EF4-FFF2-40B4-BE49-F238E27FC236}">
                    <a16:creationId xmlns:a16="http://schemas.microsoft.com/office/drawing/2014/main" id="{4EE8D35A-7130-E68A-3B4D-519ABC872096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grpSp>
          <p:nvGrpSpPr>
            <p:cNvPr id="12" name="object 82">
              <a:extLst>
                <a:ext uri="{FF2B5EF4-FFF2-40B4-BE49-F238E27FC236}">
                  <a16:creationId xmlns:a16="http://schemas.microsoft.com/office/drawing/2014/main" id="{A4E1631F-D16F-FB92-8D31-334938B79EDA}"/>
                </a:ext>
              </a:extLst>
            </p:cNvPr>
            <p:cNvGrpSpPr/>
            <p:nvPr/>
          </p:nvGrpSpPr>
          <p:grpSpPr>
            <a:xfrm>
              <a:off x="1879152" y="5497402"/>
              <a:ext cx="735965" cy="201295"/>
              <a:chOff x="1879152" y="5497402"/>
              <a:chExt cx="735965" cy="201295"/>
            </a:xfrm>
          </p:grpSpPr>
          <p:pic>
            <p:nvPicPr>
              <p:cNvPr id="13" name="object 83">
                <a:extLst>
                  <a:ext uri="{FF2B5EF4-FFF2-40B4-BE49-F238E27FC236}">
                    <a16:creationId xmlns:a16="http://schemas.microsoft.com/office/drawing/2014/main" id="{CBDE9B27-7F03-EC89-2581-0A5C88D18ECF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2056094" y="5497541"/>
                <a:ext cx="200939" cy="200964"/>
              </a:xfrm>
              <a:prstGeom prst="rect">
                <a:avLst/>
              </a:prstGeom>
            </p:spPr>
          </p:pic>
          <p:pic>
            <p:nvPicPr>
              <p:cNvPr id="14" name="object 84">
                <a:extLst>
                  <a:ext uri="{FF2B5EF4-FFF2-40B4-BE49-F238E27FC236}">
                    <a16:creationId xmlns:a16="http://schemas.microsoft.com/office/drawing/2014/main" id="{F0E8FB04-29FD-7862-B1B5-4477DA0B2330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29339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5" name="object 85">
                <a:extLst>
                  <a:ext uri="{FF2B5EF4-FFF2-40B4-BE49-F238E27FC236}">
                    <a16:creationId xmlns:a16="http://schemas.microsoft.com/office/drawing/2014/main" id="{000A0C91-E48D-A909-3CC7-BC6594818CDC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87915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6" name="object 86">
                <a:extLst>
                  <a:ext uri="{FF2B5EF4-FFF2-40B4-BE49-F238E27FC236}">
                    <a16:creationId xmlns:a16="http://schemas.microsoft.com/office/drawing/2014/main" id="{ED4873BB-B236-FFE8-D387-6E63C90CC91E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457645" y="5498522"/>
                <a:ext cx="156959" cy="197789"/>
              </a:xfrm>
              <a:prstGeom prst="rect">
                <a:avLst/>
              </a:prstGeom>
            </p:spPr>
          </p:pic>
        </p:grpSp>
      </p:grp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36273016-80A3-6E36-BF20-C410479A272B}"/>
              </a:ext>
            </a:extLst>
          </p:cNvPr>
          <p:cNvSpPr txBox="1"/>
          <p:nvPr userDrawn="1"/>
        </p:nvSpPr>
        <p:spPr>
          <a:xfrm>
            <a:off x="6247345" y="467851"/>
            <a:ext cx="56688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パワーポイントスライド画像を文字がつぶれない範囲で１枚のシートに複数枚貼り付けて頂いても問題ありません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取組みの全体像や施策のアウトプット、成果の分かる図表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グラフ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画像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写真などを添付ください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60208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C7D1A97-9587-6DDF-F089-EBDF7F43AE84}"/>
              </a:ext>
            </a:extLst>
          </p:cNvPr>
          <p:cNvSpPr txBox="1"/>
          <p:nvPr userDrawn="1"/>
        </p:nvSpPr>
        <p:spPr>
          <a:xfrm>
            <a:off x="251665" y="94751"/>
            <a:ext cx="5141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4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94DFBE9-5A63-91B0-5B6B-807FA3325496}"/>
              </a:ext>
            </a:extLst>
          </p:cNvPr>
          <p:cNvGrpSpPr/>
          <p:nvPr userDrawn="1"/>
        </p:nvGrpSpPr>
        <p:grpSpPr>
          <a:xfrm>
            <a:off x="10122799" y="111307"/>
            <a:ext cx="1793355" cy="301040"/>
            <a:chOff x="513270" y="5229997"/>
            <a:chExt cx="4380513" cy="735330"/>
          </a:xfrm>
        </p:grpSpPr>
        <p:grpSp>
          <p:nvGrpSpPr>
            <p:cNvPr id="4" name="object 59">
              <a:extLst>
                <a:ext uri="{FF2B5EF4-FFF2-40B4-BE49-F238E27FC236}">
                  <a16:creationId xmlns:a16="http://schemas.microsoft.com/office/drawing/2014/main" id="{57E7B389-1DD4-8703-0196-FE9C1154C403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31" name="object 60">
                <a:extLst>
                  <a:ext uri="{FF2B5EF4-FFF2-40B4-BE49-F238E27FC236}">
                    <a16:creationId xmlns:a16="http://schemas.microsoft.com/office/drawing/2014/main" id="{D03AFFD5-6F3A-3CE5-0A38-F26703EDAD96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32" name="object 61">
                <a:extLst>
                  <a:ext uri="{FF2B5EF4-FFF2-40B4-BE49-F238E27FC236}">
                    <a16:creationId xmlns:a16="http://schemas.microsoft.com/office/drawing/2014/main" id="{CD1B07DB-04DA-F1AD-BAF0-3EDD372723F1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23" y="413548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040000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5" name="object 62">
              <a:extLst>
                <a:ext uri="{FF2B5EF4-FFF2-40B4-BE49-F238E27FC236}">
                  <a16:creationId xmlns:a16="http://schemas.microsoft.com/office/drawing/2014/main" id="{960B08D1-8264-1773-77A5-D1DEAA4ADD64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5" name="object 63">
                <a:extLst>
                  <a:ext uri="{FF2B5EF4-FFF2-40B4-BE49-F238E27FC236}">
                    <a16:creationId xmlns:a16="http://schemas.microsoft.com/office/drawing/2014/main" id="{42EB165A-F065-DCB2-EA8E-D21F28FAEFF3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6" name="object 64">
                <a:extLst>
                  <a:ext uri="{FF2B5EF4-FFF2-40B4-BE49-F238E27FC236}">
                    <a16:creationId xmlns:a16="http://schemas.microsoft.com/office/drawing/2014/main" id="{D09ECA4D-65CA-621B-3016-9AFBCF8AE438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7" name="object 65">
                <a:extLst>
                  <a:ext uri="{FF2B5EF4-FFF2-40B4-BE49-F238E27FC236}">
                    <a16:creationId xmlns:a16="http://schemas.microsoft.com/office/drawing/2014/main" id="{4C6D3970-7CDE-310B-40C7-C87207E80EFF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8" name="object 66">
                <a:extLst>
                  <a:ext uri="{FF2B5EF4-FFF2-40B4-BE49-F238E27FC236}">
                    <a16:creationId xmlns:a16="http://schemas.microsoft.com/office/drawing/2014/main" id="{BB88075E-394C-2394-CE30-D9DBFEA92CA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29" name="object 67">
                <a:extLst>
                  <a:ext uri="{FF2B5EF4-FFF2-40B4-BE49-F238E27FC236}">
                    <a16:creationId xmlns:a16="http://schemas.microsoft.com/office/drawing/2014/main" id="{C6FD8624-FB46-9578-4468-8DD432786BC4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0" name="object 68">
                <a:extLst>
                  <a:ext uri="{FF2B5EF4-FFF2-40B4-BE49-F238E27FC236}">
                    <a16:creationId xmlns:a16="http://schemas.microsoft.com/office/drawing/2014/main" id="{68D1F595-A0E3-95BB-2F1A-C00E1DAA991D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</p:grpSp>
        <p:grpSp>
          <p:nvGrpSpPr>
            <p:cNvPr id="6" name="object 69">
              <a:extLst>
                <a:ext uri="{FF2B5EF4-FFF2-40B4-BE49-F238E27FC236}">
                  <a16:creationId xmlns:a16="http://schemas.microsoft.com/office/drawing/2014/main" id="{3ED23C40-23B7-5FE5-E6E8-8041177F9584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7" name="object 70">
                <a:extLst>
                  <a:ext uri="{FF2B5EF4-FFF2-40B4-BE49-F238E27FC236}">
                    <a16:creationId xmlns:a16="http://schemas.microsoft.com/office/drawing/2014/main" id="{36F1AAE5-23E8-5AD1-88AF-F1834DA9102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18" name="object 71">
                <a:extLst>
                  <a:ext uri="{FF2B5EF4-FFF2-40B4-BE49-F238E27FC236}">
                    <a16:creationId xmlns:a16="http://schemas.microsoft.com/office/drawing/2014/main" id="{454BB367-921F-AED6-BACB-FB76C824BB14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19" name="object 72">
                <a:extLst>
                  <a:ext uri="{FF2B5EF4-FFF2-40B4-BE49-F238E27FC236}">
                    <a16:creationId xmlns:a16="http://schemas.microsoft.com/office/drawing/2014/main" id="{09BD04A4-600C-AC1C-15CF-7B32A980DD36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0" name="object 73">
                <a:extLst>
                  <a:ext uri="{FF2B5EF4-FFF2-40B4-BE49-F238E27FC236}">
                    <a16:creationId xmlns:a16="http://schemas.microsoft.com/office/drawing/2014/main" id="{74B35D35-9A5F-BE88-EF1F-115EEB719429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1" name="object 74">
                <a:extLst>
                  <a:ext uri="{FF2B5EF4-FFF2-40B4-BE49-F238E27FC236}">
                    <a16:creationId xmlns:a16="http://schemas.microsoft.com/office/drawing/2014/main" id="{9EB03F82-AD7A-C3A5-AEA9-D676ACA9ACC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2" name="object 75">
                <a:extLst>
                  <a:ext uri="{FF2B5EF4-FFF2-40B4-BE49-F238E27FC236}">
                    <a16:creationId xmlns:a16="http://schemas.microsoft.com/office/drawing/2014/main" id="{76AE4C1C-7CA5-408D-F2C6-1C923850FB80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3" name="object 76">
                <a:extLst>
                  <a:ext uri="{FF2B5EF4-FFF2-40B4-BE49-F238E27FC236}">
                    <a16:creationId xmlns:a16="http://schemas.microsoft.com/office/drawing/2014/main" id="{01C65521-2D83-2994-B662-ADBE59E3428A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 sz="2117"/>
              </a:p>
            </p:txBody>
          </p:sp>
          <p:pic>
            <p:nvPicPr>
              <p:cNvPr id="24" name="object 77">
                <a:extLst>
                  <a:ext uri="{FF2B5EF4-FFF2-40B4-BE49-F238E27FC236}">
                    <a16:creationId xmlns:a16="http://schemas.microsoft.com/office/drawing/2014/main" id="{FB856133-15DF-AEC8-542A-6CEB25F97803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8" name="object 78">
              <a:extLst>
                <a:ext uri="{FF2B5EF4-FFF2-40B4-BE49-F238E27FC236}">
                  <a16:creationId xmlns:a16="http://schemas.microsoft.com/office/drawing/2014/main" id="{59589AEF-C06B-D96E-E885-B40D55D5187F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9" name="object 79">
              <a:extLst>
                <a:ext uri="{FF2B5EF4-FFF2-40B4-BE49-F238E27FC236}">
                  <a16:creationId xmlns:a16="http://schemas.microsoft.com/office/drawing/2014/main" id="{E27FF274-66EF-5E4B-73B4-0D538CDF48E4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5" name="object 80">
                <a:extLst>
                  <a:ext uri="{FF2B5EF4-FFF2-40B4-BE49-F238E27FC236}">
                    <a16:creationId xmlns:a16="http://schemas.microsoft.com/office/drawing/2014/main" id="{99EC64B2-2716-54A5-DC9C-72A0C99D39F3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6" name="object 81">
                <a:extLst>
                  <a:ext uri="{FF2B5EF4-FFF2-40B4-BE49-F238E27FC236}">
                    <a16:creationId xmlns:a16="http://schemas.microsoft.com/office/drawing/2014/main" id="{B5A06526-4A1B-6A5E-3465-21849A505E7A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grpSp>
          <p:nvGrpSpPr>
            <p:cNvPr id="10" name="object 82">
              <a:extLst>
                <a:ext uri="{FF2B5EF4-FFF2-40B4-BE49-F238E27FC236}">
                  <a16:creationId xmlns:a16="http://schemas.microsoft.com/office/drawing/2014/main" id="{8C68108F-973A-6A8D-094A-802A3360AFC4}"/>
                </a:ext>
              </a:extLst>
            </p:cNvPr>
            <p:cNvGrpSpPr/>
            <p:nvPr/>
          </p:nvGrpSpPr>
          <p:grpSpPr>
            <a:xfrm>
              <a:off x="1879152" y="5497402"/>
              <a:ext cx="735965" cy="201295"/>
              <a:chOff x="1879152" y="5497402"/>
              <a:chExt cx="735965" cy="201295"/>
            </a:xfrm>
          </p:grpSpPr>
          <p:pic>
            <p:nvPicPr>
              <p:cNvPr id="11" name="object 83">
                <a:extLst>
                  <a:ext uri="{FF2B5EF4-FFF2-40B4-BE49-F238E27FC236}">
                    <a16:creationId xmlns:a16="http://schemas.microsoft.com/office/drawing/2014/main" id="{E982C905-E86A-060E-F899-4934925AF73E}"/>
                  </a:ext>
                </a:extLst>
              </p:cNvPr>
              <p:cNvPicPr/>
              <p:nvPr/>
            </p:nvPicPr>
            <p:blipFill>
              <a:blip r:embed="rId16" cstate="print"/>
              <a:stretch>
                <a:fillRect/>
              </a:stretch>
            </p:blipFill>
            <p:spPr>
              <a:xfrm>
                <a:off x="2056094" y="5497541"/>
                <a:ext cx="200939" cy="200964"/>
              </a:xfrm>
              <a:prstGeom prst="rect">
                <a:avLst/>
              </a:prstGeom>
            </p:spPr>
          </p:pic>
          <p:pic>
            <p:nvPicPr>
              <p:cNvPr id="12" name="object 84">
                <a:extLst>
                  <a:ext uri="{FF2B5EF4-FFF2-40B4-BE49-F238E27FC236}">
                    <a16:creationId xmlns:a16="http://schemas.microsoft.com/office/drawing/2014/main" id="{88C7E997-FEB0-2157-1448-B4202A69E54B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29339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3" name="object 85">
                <a:extLst>
                  <a:ext uri="{FF2B5EF4-FFF2-40B4-BE49-F238E27FC236}">
                    <a16:creationId xmlns:a16="http://schemas.microsoft.com/office/drawing/2014/main" id="{BFFA041F-9C15-8BD5-154C-341FCE97188A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879152" y="5497402"/>
                <a:ext cx="134861" cy="198259"/>
              </a:xfrm>
              <a:prstGeom prst="rect">
                <a:avLst/>
              </a:prstGeom>
            </p:spPr>
          </p:pic>
          <p:pic>
            <p:nvPicPr>
              <p:cNvPr id="14" name="object 86">
                <a:extLst>
                  <a:ext uri="{FF2B5EF4-FFF2-40B4-BE49-F238E27FC236}">
                    <a16:creationId xmlns:a16="http://schemas.microsoft.com/office/drawing/2014/main" id="{36BD20D6-8511-48E8-E35D-1C4E8A190E53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457645" y="5498522"/>
                <a:ext cx="156959" cy="197789"/>
              </a:xfrm>
              <a:prstGeom prst="rect">
                <a:avLst/>
              </a:prstGeom>
            </p:spPr>
          </p:pic>
        </p:grpSp>
      </p:grp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E8413F63-03CB-B0A9-2A76-D4195823515C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③　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 dirty="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0F69A1-AA91-10FA-CF80-6FFC04895413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AE6E8D-1BFE-5EBB-B8C7-2E13B1195F5A}"/>
              </a:ext>
            </a:extLst>
          </p:cNvPr>
          <p:cNvSpPr txBox="1"/>
          <p:nvPr userDrawn="1"/>
        </p:nvSpPr>
        <p:spPr>
          <a:xfrm>
            <a:off x="6247345" y="467851"/>
            <a:ext cx="56688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パワーポイントスライド画像を文字がつぶれない範囲で１枚のシートに複数枚貼り付けて頂いても問題ありません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  <a:p>
            <a:pPr marL="171450" indent="-171450" defTabSz="914418">
              <a:buFont typeface="Arial" panose="020B0604020202020204" pitchFamily="34" charset="0"/>
              <a:buChar char="•"/>
              <a:defRPr/>
            </a:pP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取組みの全体像や施策のアウトプット、成果の分かる図表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グラフ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画像</a:t>
            </a:r>
            <a:r>
              <a:rPr lang="en-US" altLang="ja-JP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/</a:t>
            </a:r>
            <a:r>
              <a:rPr lang="ja-JP" altLang="en-US" sz="800" dirty="0">
                <a:solidFill>
                  <a:schemeClr val="bg1"/>
                </a:solidFill>
                <a:latin typeface="游ゴシック" panose="020F0502020204030204"/>
                <a:ea typeface="游ゴシック" panose="020B0400000000000000" pitchFamily="50" charset="-128"/>
              </a:rPr>
              <a:t>写真などを添付ください。</a:t>
            </a:r>
            <a:endParaRPr lang="en-US" altLang="ja-JP" sz="800" dirty="0">
              <a:solidFill>
                <a:schemeClr val="bg1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3829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96C1C-90EA-780D-557A-CD13A1139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953090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416" imgH="416" progId="TCLayout.ActiveDocument.1">
                  <p:embed/>
                </p:oleObj>
              </mc:Choice>
              <mc:Fallback>
                <p:oleObj name="think-cell スライド" r:id="rId8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96C1C-90EA-780D-557A-CD13A1139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BE0CF26-7709-C76F-8A36-C73DBD188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A91B4CA8-B65B-DAFE-295E-82D35AFFB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DE6B75E-FD47-DB5C-62B9-260B5E952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BF142E-C2E9-4D2A-B479-4545C056675E}" type="datetimeFigureOut">
              <a:rPr kumimoji="1" lang="ja-JP" altLang="en-US" smtClean="0"/>
              <a:t>2023/12/13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C9BD4CF-9C77-F3C4-941B-90B960DFF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7B8C4B7-347B-D6C4-75D8-17A0FB5971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681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2" r:id="rId4"/>
    <p:sldLayoutId id="2147483663" r:id="rId5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表 50">
            <a:extLst>
              <a:ext uri="{FF2B5EF4-FFF2-40B4-BE49-F238E27FC236}">
                <a16:creationId xmlns:a16="http://schemas.microsoft.com/office/drawing/2014/main" id="{235DB7BA-A186-9404-0698-13F655AF38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8699930"/>
              </p:ext>
            </p:extLst>
          </p:nvPr>
        </p:nvGraphicFramePr>
        <p:xfrm>
          <a:off x="481909" y="1073019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会社名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0" name="表 50">
            <a:extLst>
              <a:ext uri="{FF2B5EF4-FFF2-40B4-BE49-F238E27FC236}">
                <a16:creationId xmlns:a16="http://schemas.microsoft.com/office/drawing/2014/main" id="{0DE011FA-D09E-6A56-F172-0606C8DBE6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2599971"/>
              </p:ext>
            </p:extLst>
          </p:nvPr>
        </p:nvGraphicFramePr>
        <p:xfrm>
          <a:off x="481909" y="1959333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部署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1" name="表 50">
            <a:extLst>
              <a:ext uri="{FF2B5EF4-FFF2-40B4-BE49-F238E27FC236}">
                <a16:creationId xmlns:a16="http://schemas.microsoft.com/office/drawing/2014/main" id="{7CD98BA5-8EBC-95CD-F1B0-063B528D38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8900520"/>
              </p:ext>
            </p:extLst>
          </p:nvPr>
        </p:nvGraphicFramePr>
        <p:xfrm>
          <a:off x="481909" y="2845645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ご担当者氏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2" name="表 50">
            <a:extLst>
              <a:ext uri="{FF2B5EF4-FFF2-40B4-BE49-F238E27FC236}">
                <a16:creationId xmlns:a16="http://schemas.microsoft.com/office/drawing/2014/main" id="{C36EE588-42DC-FBC3-12CA-433E5AFA5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7933461"/>
              </p:ext>
            </p:extLst>
          </p:nvPr>
        </p:nvGraphicFramePr>
        <p:xfrm>
          <a:off x="481909" y="3731958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メールアドレス（会社のアドレス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3" name="表 50">
            <a:extLst>
              <a:ext uri="{FF2B5EF4-FFF2-40B4-BE49-F238E27FC236}">
                <a16:creationId xmlns:a16="http://schemas.microsoft.com/office/drawing/2014/main" id="{94DAF435-8191-3A98-D77D-BD2CDDA7F0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2054447"/>
              </p:ext>
            </p:extLst>
          </p:nvPr>
        </p:nvGraphicFramePr>
        <p:xfrm>
          <a:off x="481909" y="4618272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会社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団体のサイト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4" name="表 50">
            <a:extLst>
              <a:ext uri="{FF2B5EF4-FFF2-40B4-BE49-F238E27FC236}">
                <a16:creationId xmlns:a16="http://schemas.microsoft.com/office/drawing/2014/main" id="{8C9D3198-DB3B-94EF-39AF-82611BBDE2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921302"/>
              </p:ext>
            </p:extLst>
          </p:nvPr>
        </p:nvGraphicFramePr>
        <p:xfrm>
          <a:off x="481909" y="5504586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事業内容</a:t>
                      </a:r>
                      <a:endParaRPr kumimoji="1" lang="ja-JP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5" name="表 50">
            <a:extLst>
              <a:ext uri="{FF2B5EF4-FFF2-40B4-BE49-F238E27FC236}">
                <a16:creationId xmlns:a16="http://schemas.microsoft.com/office/drawing/2014/main" id="{7C2FC481-6E2B-0FE9-28B1-D9459A9ACA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5491082"/>
              </p:ext>
            </p:extLst>
          </p:nvPr>
        </p:nvGraphicFramePr>
        <p:xfrm>
          <a:off x="6305718" y="1073018"/>
          <a:ext cx="5400000" cy="15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個人の自律的な成長による持続的な企業価値の向上に取組む目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背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目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222659"/>
                  </a:ext>
                </a:extLst>
              </a:tr>
            </a:tbl>
          </a:graphicData>
        </a:graphic>
      </p:graphicFrame>
      <p:graphicFrame>
        <p:nvGraphicFramePr>
          <p:cNvPr id="126" name="表 50">
            <a:extLst>
              <a:ext uri="{FF2B5EF4-FFF2-40B4-BE49-F238E27FC236}">
                <a16:creationId xmlns:a16="http://schemas.microsoft.com/office/drawing/2014/main" id="{FA969CAD-1CB0-FE0E-5B75-5401EF8FE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277931"/>
              </p:ext>
            </p:extLst>
          </p:nvPr>
        </p:nvGraphicFramePr>
        <p:xfrm>
          <a:off x="6305718" y="2845644"/>
          <a:ext cx="5400000" cy="15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社の求める自律・自走する人材の要件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0975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7" name="表 50">
            <a:extLst>
              <a:ext uri="{FF2B5EF4-FFF2-40B4-BE49-F238E27FC236}">
                <a16:creationId xmlns:a16="http://schemas.microsoft.com/office/drawing/2014/main" id="{0C84732C-8C1C-1D42-A7F1-5355038BF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7128079"/>
              </p:ext>
            </p:extLst>
          </p:nvPr>
        </p:nvGraphicFramePr>
        <p:xfrm>
          <a:off x="6305718" y="4618272"/>
          <a:ext cx="5400000" cy="1548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経営層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全社の推進へのコミットメント状況</a:t>
                      </a:r>
                      <a:endParaRPr kumimoji="1" lang="ja-JP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16881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312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6A293F1-1F20-5C51-94F5-5239E0E9B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6" imgH="416" progId="TCLayout.ActiveDocument.1">
                  <p:embed/>
                </p:oleObj>
              </mc:Choice>
              <mc:Fallback>
                <p:oleObj name="think-cell スライド" r:id="rId4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293F1-1F20-5C51-94F5-5239E0E9B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2" name="表 50">
            <a:extLst>
              <a:ext uri="{FF2B5EF4-FFF2-40B4-BE49-F238E27FC236}">
                <a16:creationId xmlns:a16="http://schemas.microsoft.com/office/drawing/2014/main" id="{5BEF6302-BF60-0E61-AC69-56FB7CBFC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9293580"/>
              </p:ext>
            </p:extLst>
          </p:nvPr>
        </p:nvGraphicFramePr>
        <p:xfrm>
          <a:off x="6629400" y="190699"/>
          <a:ext cx="3098219" cy="61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821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1265470">
                  <a:extLst>
                    <a:ext uri="{9D8B030D-6E8A-4147-A177-3AD203B41FA5}">
                      <a16:colId xmlns:a16="http://schemas.microsoft.com/office/drawing/2014/main" val="2595377028"/>
                    </a:ext>
                  </a:extLst>
                </a:gridCol>
                <a:gridCol w="261821">
                  <a:extLst>
                    <a:ext uri="{9D8B030D-6E8A-4147-A177-3AD203B41FA5}">
                      <a16:colId xmlns:a16="http://schemas.microsoft.com/office/drawing/2014/main" val="188764394"/>
                    </a:ext>
                  </a:extLst>
                </a:gridCol>
                <a:gridCol w="1309107">
                  <a:extLst>
                    <a:ext uri="{9D8B030D-6E8A-4147-A177-3AD203B41FA5}">
                      <a16:colId xmlns:a16="http://schemas.microsoft.com/office/drawing/2014/main" val="4175860395"/>
                    </a:ext>
                  </a:extLst>
                </a:gridCol>
              </a:tblGrid>
              <a:tr h="193920">
                <a:tc gridSpan="4"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/>
                        <a:t>アピールしたい領域に●を記載ください</a:t>
                      </a:r>
                      <a:endParaRPr kumimoji="1" lang="en-US" altLang="ja-JP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人事</a:t>
                      </a:r>
                      <a:r>
                        <a:rPr kumimoji="1" lang="en-US" altLang="ja-JP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HR</a:t>
                      </a:r>
                      <a:r>
                        <a:rPr kumimoji="1" lang="ja-JP" alt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の変革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マネジメントの変革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209160"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企業文化の変革</a:t>
                      </a:r>
                      <a:endParaRPr kumimoji="1" lang="en-US" altLang="ja-JP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キャリアの変革</a:t>
                      </a:r>
                      <a:endParaRPr kumimoji="1" lang="ja-JP" altLang="en-US" sz="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511059"/>
                  </a:ext>
                </a:extLst>
              </a:tr>
            </a:tbl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EE6E461-5E86-75CE-0786-7EB3DF18ECE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4325181"/>
              </p:ext>
            </p:extLst>
          </p:nvPr>
        </p:nvGraphicFramePr>
        <p:xfrm>
          <a:off x="306875" y="1226072"/>
          <a:ext cx="5760000" cy="133396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① 背景・課題設定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解決したいと考えた背景や設定した課題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194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② コンセプト・アイデア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施策の全体設計、課題を解決するコンセプト、新規性のポイント、</a:t>
                      </a:r>
                      <a:b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律・自走した人材と事業成長のつながり（期待する事業インパクト）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EE3C5346-738D-901F-E19D-698C9B7B2A5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7450175"/>
              </p:ext>
            </p:extLst>
          </p:nvPr>
        </p:nvGraphicFramePr>
        <p:xfrm>
          <a:off x="6140746" y="1226072"/>
          <a:ext cx="5760000" cy="133348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③ 実施内容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具体的に実行した取組み、それぞれのゴール設定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480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</a:rPr>
                        <a:t>④ 成果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みがもたらした定量的な成果、定性的な社内の影響、事業インパクト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8688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019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2009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7802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81000000000000005329E+00&quot;&gt;&lt;m_msothmcolidx val=&quot;0&quot;/&gt;&lt;m_rgb r=&quot;D4&quot; g=&quot;18&quot; b=&quot;0D&quot;/&gt;&lt;/elem&gt;&lt;elem m_fUsage=&quot;9.00000000000000022204E-01&quot;&gt;&lt;m_msothmcolidx val=&quot;0&quot;/&gt;&lt;m_rgb r=&quot;E1&quot; g=&quot;34&quot; b=&quot;0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C46BA58A296F7488017BBC04AF6B09F" ma:contentTypeVersion="12" ma:contentTypeDescription="新しいドキュメントを作成します。" ma:contentTypeScope="" ma:versionID="6e55ab45d8ca259a14401ef46446ef5c">
  <xsd:schema xmlns:xsd="http://www.w3.org/2001/XMLSchema" xmlns:xs="http://www.w3.org/2001/XMLSchema" xmlns:p="http://schemas.microsoft.com/office/2006/metadata/properties" xmlns:ns2="4344c427-5f09-4408-b217-badd3d49278a" xmlns:ns3="18737043-e87c-435f-aab9-0ee90519c653" targetNamespace="http://schemas.microsoft.com/office/2006/metadata/properties" ma:root="true" ma:fieldsID="f4257fddde25f27c7135b45cdc11bc3a" ns2:_="" ns3:_="">
    <xsd:import namespace="4344c427-5f09-4408-b217-badd3d49278a"/>
    <xsd:import namespace="18737043-e87c-435f-aab9-0ee90519c6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4c427-5f09-4408-b217-badd3d4927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785717d7-19ec-47d4-9288-ce56b1256b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37043-e87c-435f-aab9-0ee90519c6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5110bb7-f7c8-48c6-b1dd-5fd9abe0c5ff}" ma:internalName="TaxCatchAll" ma:showField="CatchAllData" ma:web="18737043-e87c-435f-aab9-0ee90519c6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44c427-5f09-4408-b217-badd3d49278a">
      <Terms xmlns="http://schemas.microsoft.com/office/infopath/2007/PartnerControls"/>
    </lcf76f155ced4ddcb4097134ff3c332f>
    <TaxCatchAll xmlns="18737043-e87c-435f-aab9-0ee90519c65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E85FFE-4A3F-4BE9-9EE6-7DA7CECF75F8}">
  <ds:schemaRefs>
    <ds:schemaRef ds:uri="18737043-e87c-435f-aab9-0ee90519c653"/>
    <ds:schemaRef ds:uri="4344c427-5f09-4408-b217-badd3d4927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30B044D-38A9-4865-B967-A7BE3D6C4B31}">
  <ds:schemaRefs>
    <ds:schemaRef ds:uri="4344c427-5f09-4408-b217-badd3d49278a"/>
    <ds:schemaRef ds:uri="http://schemas.microsoft.com/office/2006/documentManagement/types"/>
    <ds:schemaRef ds:uri="http://schemas.openxmlformats.org/package/2006/metadata/core-properties"/>
    <ds:schemaRef ds:uri="18737043-e87c-435f-aab9-0ee90519c653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6CCC9AD-6B93-4C83-B53D-F19706B457D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74</TotalTime>
  <Words>235</Words>
  <Application>Microsoft Office PowerPoint</Application>
  <PresentationFormat>ワイド画面</PresentationFormat>
  <Paragraphs>41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Yu Gothic</vt:lpstr>
      <vt:lpstr>Yu Gothic</vt:lpstr>
      <vt:lpstr>游ゴシック Light</vt:lpstr>
      <vt:lpstr>Arial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電通</dc:creator>
  <cp:lastModifiedBy>飯塚　勤</cp:lastModifiedBy>
  <cp:revision>24</cp:revision>
  <dcterms:created xsi:type="dcterms:W3CDTF">2023-10-06T07:34:44Z</dcterms:created>
  <dcterms:modified xsi:type="dcterms:W3CDTF">2023-12-13T04:5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46BA58A296F7488017BBC04AF6B09F</vt:lpwstr>
  </property>
  <property fmtid="{D5CDD505-2E9C-101B-9397-08002B2CF9AE}" pid="3" name="MediaServiceImageTags">
    <vt:lpwstr/>
  </property>
</Properties>
</file>